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6" r:id="rId2"/>
    <p:sldId id="257" r:id="rId3"/>
    <p:sldId id="258" r:id="rId4"/>
    <p:sldId id="259" r:id="rId5"/>
    <p:sldId id="260" r:id="rId6"/>
    <p:sldId id="281" r:id="rId7"/>
    <p:sldId id="282" r:id="rId8"/>
    <p:sldId id="279" r:id="rId9"/>
    <p:sldId id="280" r:id="rId10"/>
    <p:sldId id="278" r:id="rId11"/>
    <p:sldId id="276" r:id="rId12"/>
    <p:sldId id="277" r:id="rId13"/>
    <p:sldId id="261" r:id="rId14"/>
    <p:sldId id="283" r:id="rId15"/>
    <p:sldId id="284" r:id="rId16"/>
    <p:sldId id="285" r:id="rId17"/>
    <p:sldId id="286" r:id="rId18"/>
    <p:sldId id="275" r:id="rId19"/>
  </p:sldIdLst>
  <p:sldSz cx="12192000" cy="6858000"/>
  <p:notesSz cx="6858000" cy="9144000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749" userDrawn="1">
          <p15:clr>
            <a:srgbClr val="A4A3A4"/>
          </p15:clr>
        </p15:guide>
        <p15:guide id="3" pos="3931" userDrawn="1">
          <p15:clr>
            <a:srgbClr val="A4A3A4"/>
          </p15:clr>
        </p15:guide>
        <p15:guide id="4" pos="257" userDrawn="1">
          <p15:clr>
            <a:srgbClr val="A4A3A4"/>
          </p15:clr>
        </p15:guide>
        <p15:guide id="5" pos="7423" userDrawn="1">
          <p15:clr>
            <a:srgbClr val="A4A3A4"/>
          </p15:clr>
        </p15:guide>
        <p15:guide id="10" orient="horz" pos="913" userDrawn="1">
          <p15:clr>
            <a:srgbClr val="A4A3A4"/>
          </p15:clr>
        </p15:guide>
        <p15:guide id="15" orient="horz" pos="390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11" autoAdjust="0"/>
    <p:restoredTop sz="76404" autoAdjust="0"/>
  </p:normalViewPr>
  <p:slideViewPr>
    <p:cSldViewPr showGuides="1">
      <p:cViewPr varScale="1">
        <p:scale>
          <a:sx n="100" d="100"/>
          <a:sy n="100" d="100"/>
        </p:scale>
        <p:origin x="876" y="84"/>
      </p:cViewPr>
      <p:guideLst>
        <p:guide pos="3749"/>
        <p:guide pos="3931"/>
        <p:guide pos="257"/>
        <p:guide pos="7423"/>
        <p:guide orient="horz" pos="913"/>
        <p:guide orient="horz" pos="390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82" d="100"/>
        <a:sy n="82" d="100"/>
      </p:scale>
      <p:origin x="0" y="-4224"/>
    </p:cViewPr>
  </p:sorterViewPr>
  <p:notesViewPr>
    <p:cSldViewPr showGuides="1">
      <p:cViewPr varScale="1">
        <p:scale>
          <a:sx n="53" d="100"/>
          <a:sy n="53" d="100"/>
        </p:scale>
        <p:origin x="1980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6"/>
          <p:cNvSpPr txBox="1">
            <a:spLocks/>
          </p:cNvSpPr>
          <p:nvPr/>
        </p:nvSpPr>
        <p:spPr>
          <a:xfrm>
            <a:off x="412284" y="8789734"/>
            <a:ext cx="828000" cy="184666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Page </a:t>
            </a:r>
            <a:fld id="{A337C84A-B492-418D-83EE-970573EF9CB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7764" y="8818413"/>
            <a:ext cx="1009698" cy="190800"/>
          </a:xfrm>
          <a:prstGeom prst="rect">
            <a:avLst/>
          </a:prstGeom>
        </p:spPr>
      </p:pic>
      <p:sp>
        <p:nvSpPr>
          <p:cNvPr id="2" name="日付プレースホルダー 1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375B9F-FD06-40FF-976E-D5DB3DC1F3C4}" type="datetimeFigureOut">
              <a:rPr kumimoji="1" lang="ja-JP" altLang="en-US" smtClean="0"/>
              <a:t>2019/12/1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96012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12284" y="4343400"/>
            <a:ext cx="6044079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12284" y="8789734"/>
            <a:ext cx="828000" cy="184666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1200"/>
            </a:lvl1pPr>
          </a:lstStyle>
          <a:p>
            <a:r>
              <a:rPr lang="en-US" dirty="0" smtClean="0"/>
              <a:t>Page </a:t>
            </a:r>
            <a:fld id="{A337C84A-B492-418D-83EE-970573EF9CB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7764" y="8818413"/>
            <a:ext cx="1009698" cy="19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3620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000"/>
      </a:spcBef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Bef>
        <a:spcPts val="600"/>
      </a:spcBef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975" indent="-180975" algn="l" defTabSz="914400" rtl="0" eaLnBrk="1" latinLnBrk="0" hangingPunct="1">
      <a:spcBef>
        <a:spcPts val="400"/>
      </a:spcBef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50850" indent="-269875" algn="l" defTabSz="914400" rtl="0" eaLnBrk="1" latinLnBrk="0" hangingPunct="1">
      <a:spcBef>
        <a:spcPts val="300"/>
      </a:spcBef>
      <a:buClr>
        <a:schemeClr val="tx1"/>
      </a:buClr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-271463" algn="l" defTabSz="914400" rtl="0" eaLnBrk="1" latinLnBrk="0" hangingPunct="1">
      <a:spcBef>
        <a:spcPts val="300"/>
      </a:spcBef>
      <a:buClr>
        <a:schemeClr val="tx1"/>
      </a:buClr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4067" userDrawn="1">
          <p15:clr>
            <a:srgbClr val="F26B43"/>
          </p15:clr>
        </p15:guide>
        <p15:guide id="2" pos="257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A337C84A-B492-418D-83EE-970573EF9CB3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5896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ja-JP" altLang="en-US" dirty="0" smtClean="0"/>
              <a:t>ここでは、対象単語の前後一つずつとしているが、</a:t>
            </a:r>
            <a:r>
              <a:rPr kumimoji="1" lang="en-US" altLang="ja-JP" dirty="0" smtClean="0"/>
              <a:t>word2vec</a:t>
            </a:r>
            <a:r>
              <a:rPr kumimoji="1" lang="ja-JP" altLang="en-US" dirty="0" smtClean="0"/>
              <a:t>では任意の個数が処理できる。</a:t>
            </a:r>
            <a:r>
              <a:rPr kumimoji="1" lang="en-US" altLang="ja-JP" dirty="0" smtClean="0"/>
              <a:t>(</a:t>
            </a:r>
            <a:r>
              <a:rPr kumimoji="1" lang="ja-JP" altLang="en-US" dirty="0" smtClean="0"/>
              <a:t>個数が多いと学習時のメモリ、時間が増えるというだけ。</a:t>
            </a:r>
            <a:r>
              <a:rPr kumimoji="1" lang="en-US" altLang="ja-JP" dirty="0" smtClean="0"/>
              <a:t>)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A337C84A-B492-418D-83EE-970573EF9CB3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14105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ja-JP" dirty="0" smtClean="0"/>
              <a:t>Word2vec</a:t>
            </a:r>
            <a:r>
              <a:rPr kumimoji="1" lang="ja-JP" altLang="en-US" dirty="0" smtClean="0"/>
              <a:t>では、ニューロンのレイヤーは</a:t>
            </a:r>
            <a:r>
              <a:rPr kumimoji="1" lang="en-US" altLang="ja-JP" dirty="0" smtClean="0"/>
              <a:t>2</a:t>
            </a:r>
            <a:r>
              <a:rPr kumimoji="1" lang="ja-JP" altLang="en-US" dirty="0" smtClean="0"/>
              <a:t>つしかない。</a:t>
            </a:r>
            <a:endParaRPr kumimoji="1" lang="en-US" altLang="ja-JP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dirty="0" smtClean="0"/>
              <a:t>2</a:t>
            </a:r>
            <a:r>
              <a:rPr kumimoji="1" lang="ja-JP" altLang="en-US" dirty="0" smtClean="0"/>
              <a:t>つ目のレイヤーが複数のグループに分かれていて、それぞれで</a:t>
            </a:r>
            <a:r>
              <a:rPr kumimoji="1" lang="en-US" altLang="ja-JP" dirty="0" err="1" smtClean="0"/>
              <a:t>softmax</a:t>
            </a:r>
            <a:r>
              <a:rPr kumimoji="1" lang="ja-JP" altLang="en-US" dirty="0" smtClean="0"/>
              <a:t>をするというのが</a:t>
            </a:r>
            <a:r>
              <a:rPr kumimoji="1" lang="en-US" altLang="ja-JP" dirty="0" smtClean="0"/>
              <a:t>word2vec</a:t>
            </a:r>
            <a:r>
              <a:rPr kumimoji="1" lang="ja-JP" altLang="en-US" dirty="0" smtClean="0"/>
              <a:t>の特徴。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A337C84A-B492-418D-83EE-970573EF9CB3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73271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ja-JP" altLang="en-US" dirty="0" smtClean="0"/>
              <a:t>レイヤー</a:t>
            </a:r>
            <a:r>
              <a:rPr kumimoji="1" lang="en-US" altLang="ja-JP" dirty="0" smtClean="0"/>
              <a:t>1</a:t>
            </a:r>
            <a:r>
              <a:rPr kumimoji="1" lang="ja-JP" altLang="en-US" dirty="0" smtClean="0"/>
              <a:t>の重み値が、各単語の単語ベクトルとなる。</a:t>
            </a:r>
            <a:endParaRPr kumimoji="1" lang="en-US" altLang="ja-JP" dirty="0" smtClean="0"/>
          </a:p>
          <a:p>
            <a:r>
              <a:rPr kumimoji="1" lang="ja-JP" altLang="en-US" dirty="0" smtClean="0"/>
              <a:t>レイヤー</a:t>
            </a:r>
            <a:r>
              <a:rPr kumimoji="1" lang="en-US" altLang="ja-JP" dirty="0" smtClean="0"/>
              <a:t>2</a:t>
            </a:r>
            <a:r>
              <a:rPr kumimoji="1" lang="ja-JP" altLang="en-US" dirty="0" smtClean="0"/>
              <a:t>の重み値は、使用しない。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A337C84A-B492-418D-83EE-970573EF9CB3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29001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A337C84A-B492-418D-83EE-970573EF9CB3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80361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A337C84A-B492-418D-83EE-970573EF9CB3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29371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ja-JP" altLang="en-US" dirty="0" smtClean="0"/>
              <a:t>本家</a:t>
            </a:r>
            <a:r>
              <a:rPr kumimoji="1" lang="en-US" altLang="ja-JP" dirty="0" smtClean="0"/>
              <a:t>word2vec</a:t>
            </a:r>
            <a:r>
              <a:rPr kumimoji="1" lang="ja-JP" altLang="en-US" dirty="0" smtClean="0"/>
              <a:t>に比べると、以下のような点で劣っている。</a:t>
            </a:r>
            <a:endParaRPr kumimoji="1" lang="en-US" altLang="ja-JP" dirty="0" smtClean="0"/>
          </a:p>
          <a:p>
            <a:r>
              <a:rPr kumimoji="1" lang="ja-JP" altLang="en-US" dirty="0" smtClean="0"/>
              <a:t>・単語ベクトルのサイズが小さい</a:t>
            </a:r>
            <a:r>
              <a:rPr kumimoji="1" lang="en-US" altLang="ja-JP" dirty="0" smtClean="0"/>
              <a:t>(200</a:t>
            </a:r>
            <a:r>
              <a:rPr kumimoji="1" lang="ja-JP" altLang="en-US" dirty="0" smtClean="0"/>
              <a:t>→</a:t>
            </a:r>
            <a:r>
              <a:rPr kumimoji="1" lang="en-US" altLang="ja-JP" dirty="0" smtClean="0"/>
              <a:t>20)</a:t>
            </a:r>
          </a:p>
          <a:p>
            <a:r>
              <a:rPr kumimoji="1" lang="ja-JP" altLang="en-US" dirty="0" smtClean="0"/>
              <a:t>・ウィンドウサイズが小さい</a:t>
            </a:r>
            <a:r>
              <a:rPr kumimoji="1" lang="en-US" altLang="ja-JP" dirty="0" smtClean="0"/>
              <a:t>(5</a:t>
            </a:r>
            <a:r>
              <a:rPr kumimoji="1" lang="ja-JP" altLang="en-US" dirty="0" smtClean="0"/>
              <a:t>→</a:t>
            </a:r>
            <a:r>
              <a:rPr kumimoji="1" lang="en-US" altLang="ja-JP" dirty="0" smtClean="0"/>
              <a:t>1)</a:t>
            </a:r>
          </a:p>
          <a:p>
            <a:r>
              <a:rPr kumimoji="1" lang="ja-JP" altLang="en-US" dirty="0" smtClean="0"/>
              <a:t>・テキストデータが小さい</a:t>
            </a:r>
            <a:r>
              <a:rPr kumimoji="1" lang="en-US" altLang="ja-JP" dirty="0" smtClean="0"/>
              <a:t>(?</a:t>
            </a:r>
            <a:r>
              <a:rPr kumimoji="1" lang="ja-JP" altLang="en-US" dirty="0" smtClean="0"/>
              <a:t>→</a:t>
            </a:r>
            <a:r>
              <a:rPr kumimoji="1" lang="en-US" altLang="ja-JP" dirty="0" smtClean="0"/>
              <a:t>40000</a:t>
            </a:r>
            <a:r>
              <a:rPr kumimoji="1" lang="ja-JP" altLang="en-US" dirty="0" smtClean="0"/>
              <a:t>語</a:t>
            </a:r>
            <a:r>
              <a:rPr kumimoji="1" lang="en-US" altLang="ja-JP" dirty="0" smtClean="0"/>
              <a:t>)</a:t>
            </a:r>
          </a:p>
          <a:p>
            <a:endParaRPr kumimoji="1" lang="en-US" altLang="ja-JP" dirty="0" smtClean="0"/>
          </a:p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A337C84A-B492-418D-83EE-970573EF9CB3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98707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A337C84A-B492-418D-83EE-970573EF9CB3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33310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A337C84A-B492-418D-83EE-970573EF9CB3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9396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ja-JP" dirty="0" smtClean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A337C84A-B492-418D-83EE-970573EF9CB3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4849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A337C84A-B492-418D-83EE-970573EF9CB3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3045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ja-JP" dirty="0" smtClean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A337C84A-B492-418D-83EE-970573EF9CB3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591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A337C84A-B492-418D-83EE-970573EF9CB3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14740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ja-JP" dirty="0" smtClean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A337C84A-B492-418D-83EE-970573EF9CB3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32844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ja-JP" dirty="0" smtClean="0"/>
              <a:t>Java</a:t>
            </a:r>
            <a:r>
              <a:rPr kumimoji="1" lang="ja-JP" altLang="en-US" dirty="0" smtClean="0"/>
              <a:t>でいえば、</a:t>
            </a:r>
            <a:r>
              <a:rPr kumimoji="1" lang="en-US" altLang="ja-JP" dirty="0" smtClean="0"/>
              <a:t>String</a:t>
            </a:r>
            <a:r>
              <a:rPr kumimoji="1" lang="ja-JP" altLang="en-US" dirty="0" smtClean="0"/>
              <a:t>を、</a:t>
            </a:r>
            <a:r>
              <a:rPr kumimoji="1" lang="en-US" altLang="ja-JP" dirty="0" smtClean="0"/>
              <a:t>String[]</a:t>
            </a:r>
            <a:r>
              <a:rPr kumimoji="1" lang="ja-JP" altLang="en-US" dirty="0" smtClean="0"/>
              <a:t>にするだけ。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A337C84A-B492-418D-83EE-970573EF9CB3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17939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ja-JP" dirty="0" smtClean="0"/>
              <a:t>Vocabulary</a:t>
            </a:r>
            <a:r>
              <a:rPr kumimoji="1" lang="ja-JP" altLang="en-US" dirty="0" smtClean="0"/>
              <a:t>は、単語のリストから重複を除き、</a:t>
            </a:r>
            <a:r>
              <a:rPr kumimoji="1" lang="en-US" altLang="ja-JP" dirty="0" smtClean="0"/>
              <a:t>ID</a:t>
            </a:r>
            <a:r>
              <a:rPr kumimoji="1" lang="ja-JP" altLang="en-US" dirty="0" smtClean="0"/>
              <a:t>を振っただけのもの。ここではアルファベット順に並べているが、これは単に説明が分かりやすいと思われたからで、</a:t>
            </a:r>
            <a:r>
              <a:rPr kumimoji="1" lang="en-US" altLang="ja-JP" dirty="0" smtClean="0"/>
              <a:t>word2vec</a:t>
            </a:r>
            <a:r>
              <a:rPr kumimoji="1" lang="ja-JP" altLang="en-US" dirty="0" smtClean="0"/>
              <a:t>の処理上は全く無意味である。</a:t>
            </a:r>
            <a:endParaRPr kumimoji="1" lang="en-US" altLang="ja-JP" dirty="0" smtClean="0"/>
          </a:p>
          <a:p>
            <a:r>
              <a:rPr kumimoji="1" lang="en-US" altLang="ja-JP" dirty="0" smtClean="0"/>
              <a:t>Corpus</a:t>
            </a:r>
            <a:r>
              <a:rPr kumimoji="1" lang="ja-JP" altLang="en-US" dirty="0" smtClean="0"/>
              <a:t>は、</a:t>
            </a:r>
            <a:r>
              <a:rPr kumimoji="1" lang="en-US" altLang="ja-JP" dirty="0" smtClean="0"/>
              <a:t>Vocabulary</a:t>
            </a:r>
            <a:r>
              <a:rPr kumimoji="1" lang="ja-JP" altLang="en-US" dirty="0" smtClean="0"/>
              <a:t>に従い、単語リストを</a:t>
            </a:r>
            <a:r>
              <a:rPr kumimoji="1" lang="en-US" altLang="ja-JP" dirty="0" smtClean="0"/>
              <a:t>String[]</a:t>
            </a:r>
            <a:r>
              <a:rPr kumimoji="1" lang="ja-JP" altLang="en-US" dirty="0" smtClean="0"/>
              <a:t>から、</a:t>
            </a:r>
            <a:r>
              <a:rPr kumimoji="1" lang="en-US" altLang="ja-JP" dirty="0" err="1" smtClean="0"/>
              <a:t>int</a:t>
            </a:r>
            <a:r>
              <a:rPr kumimoji="1" lang="en-US" altLang="ja-JP" dirty="0" smtClean="0"/>
              <a:t>[]</a:t>
            </a:r>
            <a:r>
              <a:rPr kumimoji="1" lang="ja-JP" altLang="en-US" dirty="0" smtClean="0"/>
              <a:t>にしただけのものである。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A337C84A-B492-418D-83EE-970573EF9CB3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43658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9340" y="337707"/>
            <a:ext cx="1368000" cy="25850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7" y="4634557"/>
            <a:ext cx="11376025" cy="443198"/>
          </a:xfrm>
        </p:spPr>
        <p:txBody>
          <a:bodyPr wrap="square" anchor="b">
            <a:spAutoFit/>
          </a:bodyPr>
          <a:lstStyle>
            <a:lvl1pPr algn="l">
              <a:defRPr sz="3200"/>
            </a:lvl1pPr>
          </a:lstStyle>
          <a:p>
            <a:r>
              <a:rPr lang="ja-JP" altLang="en-US" noProof="0" dirty="0" smtClean="0"/>
              <a:t>プレゼンテーションタイトルを入力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7" y="5377748"/>
            <a:ext cx="11376025" cy="338554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2200" b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noProof="0" dirty="0" smtClean="0"/>
              <a:t>プレゼンテーションサブタイトルを入力</a:t>
            </a:r>
            <a:endParaRPr lang="en-US" noProof="0" dirty="0" smtClean="0"/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0" y="5192696"/>
            <a:ext cx="756000" cy="0"/>
          </a:xfrm>
          <a:custGeom>
            <a:avLst/>
            <a:gdLst>
              <a:gd name="connsiteX0" fmla="*/ 0 w 409575"/>
              <a:gd name="connsiteY0" fmla="*/ 0 h 0"/>
              <a:gd name="connsiteX1" fmla="*/ 409575 w 40957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09575">
                <a:moveTo>
                  <a:pt x="0" y="0"/>
                </a:moveTo>
                <a:lnTo>
                  <a:pt x="409575" y="0"/>
                </a:lnTo>
              </a:path>
            </a:pathLst>
          </a:cu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6206080"/>
            <a:ext cx="11376025" cy="215444"/>
          </a:xfrm>
        </p:spPr>
        <p:txBody>
          <a:bodyPr anchor="ctr" anchorCtr="0">
            <a:sp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</a:lstStyle>
          <a:p>
            <a:pPr lvl="0"/>
            <a:r>
              <a:rPr lang="ja-JP" altLang="en-US" noProof="0" dirty="0" smtClean="0"/>
              <a:t>部署名</a:t>
            </a:r>
            <a:r>
              <a:rPr lang="en-US" noProof="0" dirty="0" smtClean="0"/>
              <a:t>  |  </a:t>
            </a:r>
            <a:r>
              <a:rPr lang="ja-JP" altLang="en-US" noProof="0" dirty="0" smtClean="0"/>
              <a:t>氏名</a:t>
            </a:r>
            <a:r>
              <a:rPr lang="en-US" noProof="0" dirty="0" smtClean="0"/>
              <a:t>  |  </a:t>
            </a:r>
            <a:r>
              <a:rPr lang="ja-JP" altLang="en-US" noProof="0" dirty="0" smtClean="0"/>
              <a:t>場所</a:t>
            </a:r>
            <a:r>
              <a:rPr lang="en-US" noProof="0" dirty="0" smtClean="0"/>
              <a:t>  |  </a:t>
            </a:r>
            <a:r>
              <a:rPr lang="ja-JP" altLang="en-US" noProof="0" dirty="0" smtClean="0"/>
              <a:t>年月日</a:t>
            </a:r>
            <a:endParaRPr lang="en-US" noProof="0" dirty="0" smtClean="0"/>
          </a:p>
        </p:txBody>
      </p:sp>
      <p:grpSp>
        <p:nvGrpSpPr>
          <p:cNvPr id="57" name="グループ化 56"/>
          <p:cNvGrpSpPr/>
          <p:nvPr userDrawn="1"/>
        </p:nvGrpSpPr>
        <p:grpSpPr>
          <a:xfrm>
            <a:off x="-100749" y="-82436"/>
            <a:ext cx="12360988" cy="7022872"/>
            <a:chOff x="-100749" y="-82436"/>
            <a:chExt cx="12360988" cy="7022872"/>
          </a:xfrm>
        </p:grpSpPr>
        <p:grpSp>
          <p:nvGrpSpPr>
            <p:cNvPr id="58" name="Gruppieren 31"/>
            <p:cNvGrpSpPr/>
            <p:nvPr userDrawn="1"/>
          </p:nvGrpSpPr>
          <p:grpSpPr bwMode="gray">
            <a:xfrm>
              <a:off x="407368" y="6868436"/>
              <a:ext cx="11377264" cy="72000"/>
              <a:chOff x="407368" y="0"/>
              <a:chExt cx="11377264" cy="108000"/>
            </a:xfrm>
          </p:grpSpPr>
          <p:sp>
            <p:nvSpPr>
              <p:cNvPr id="70" name="Freihandform 32"/>
              <p:cNvSpPr/>
              <p:nvPr userDrawn="1"/>
            </p:nvSpPr>
            <p:spPr bwMode="gray">
              <a:xfrm>
                <a:off x="595198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1" name="Freihandform 33"/>
              <p:cNvSpPr/>
              <p:nvPr userDrawn="1"/>
            </p:nvSpPr>
            <p:spPr bwMode="gray">
              <a:xfrm>
                <a:off x="407368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2" name="Freihandform 34"/>
              <p:cNvSpPr/>
              <p:nvPr userDrawn="1"/>
            </p:nvSpPr>
            <p:spPr bwMode="gray">
              <a:xfrm>
                <a:off x="117846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3" name="Freihandform 35"/>
              <p:cNvSpPr/>
              <p:nvPr userDrawn="1"/>
            </p:nvSpPr>
            <p:spPr bwMode="gray">
              <a:xfrm>
                <a:off x="6240016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59" name="Gruppieren 30"/>
            <p:cNvGrpSpPr/>
            <p:nvPr userDrawn="1"/>
          </p:nvGrpSpPr>
          <p:grpSpPr bwMode="gray">
            <a:xfrm>
              <a:off x="391113" y="-82436"/>
              <a:ext cx="11377264" cy="72000"/>
              <a:chOff x="407368" y="0"/>
              <a:chExt cx="11377264" cy="108000"/>
            </a:xfrm>
          </p:grpSpPr>
          <p:sp>
            <p:nvSpPr>
              <p:cNvPr id="66" name="Freihandform 26"/>
              <p:cNvSpPr/>
              <p:nvPr userDrawn="1"/>
            </p:nvSpPr>
            <p:spPr bwMode="gray">
              <a:xfrm>
                <a:off x="595198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7" name="Freihandform 27"/>
              <p:cNvSpPr/>
              <p:nvPr userDrawn="1"/>
            </p:nvSpPr>
            <p:spPr bwMode="gray">
              <a:xfrm>
                <a:off x="407368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8" name="Freihandform 28"/>
              <p:cNvSpPr/>
              <p:nvPr userDrawn="1"/>
            </p:nvSpPr>
            <p:spPr bwMode="gray">
              <a:xfrm>
                <a:off x="117846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9" name="Freihandform 29"/>
              <p:cNvSpPr/>
              <p:nvPr userDrawn="1"/>
            </p:nvSpPr>
            <p:spPr bwMode="gray">
              <a:xfrm>
                <a:off x="6240016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60" name="グループ化 59"/>
            <p:cNvGrpSpPr/>
            <p:nvPr userDrawn="1"/>
          </p:nvGrpSpPr>
          <p:grpSpPr>
            <a:xfrm>
              <a:off x="-100749" y="1216200"/>
              <a:ext cx="72000" cy="4985108"/>
              <a:chOff x="-84494" y="1216200"/>
              <a:chExt cx="72000" cy="4985108"/>
            </a:xfrm>
          </p:grpSpPr>
          <p:sp>
            <p:nvSpPr>
              <p:cNvPr id="64" name="Freihandform 37"/>
              <p:cNvSpPr/>
              <p:nvPr userDrawn="1"/>
            </p:nvSpPr>
            <p:spPr bwMode="gray">
              <a:xfrm rot="5400000">
                <a:off x="-48494" y="6165308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5" name="Freihandform 38"/>
              <p:cNvSpPr/>
              <p:nvPr userDrawn="1"/>
            </p:nvSpPr>
            <p:spPr bwMode="gray">
              <a:xfrm rot="5400000">
                <a:off x="-48494" y="1180200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61" name="グループ化 60"/>
            <p:cNvGrpSpPr/>
            <p:nvPr userDrawn="1"/>
          </p:nvGrpSpPr>
          <p:grpSpPr>
            <a:xfrm>
              <a:off x="12188239" y="1216200"/>
              <a:ext cx="72000" cy="4985108"/>
              <a:chOff x="12204494" y="1216200"/>
              <a:chExt cx="72000" cy="4985108"/>
            </a:xfrm>
          </p:grpSpPr>
          <p:sp>
            <p:nvSpPr>
              <p:cNvPr id="62" name="Freihandform 42"/>
              <p:cNvSpPr/>
              <p:nvPr userDrawn="1"/>
            </p:nvSpPr>
            <p:spPr bwMode="gray">
              <a:xfrm rot="5400000">
                <a:off x="12240494" y="6165308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3" name="Freihandform 43"/>
              <p:cNvSpPr/>
              <p:nvPr userDrawn="1"/>
            </p:nvSpPr>
            <p:spPr bwMode="gray">
              <a:xfrm rot="5400000">
                <a:off x="12240494" y="1180200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pic>
        <p:nvPicPr>
          <p:cNvPr id="27" name="図 2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60400"/>
            <a:ext cx="12200400" cy="3114388"/>
          </a:xfrm>
          <a:prstGeom prst="rect">
            <a:avLst/>
          </a:prstGeom>
        </p:spPr>
      </p:pic>
      <p:pic>
        <p:nvPicPr>
          <p:cNvPr id="26" name="図 2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4509120"/>
            <a:ext cx="2098780" cy="1774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33935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/>
          <p:cNvGrpSpPr/>
          <p:nvPr userDrawn="1"/>
        </p:nvGrpSpPr>
        <p:grpSpPr bwMode="gray">
          <a:xfrm>
            <a:off x="-84494" y="-82436"/>
            <a:ext cx="12360988" cy="7022872"/>
            <a:chOff x="-84494" y="-82436"/>
            <a:chExt cx="12360988" cy="7022872"/>
          </a:xfrm>
        </p:grpSpPr>
        <p:grpSp>
          <p:nvGrpSpPr>
            <p:cNvPr id="7" name="Gruppieren 6"/>
            <p:cNvGrpSpPr/>
            <p:nvPr userDrawn="1"/>
          </p:nvGrpSpPr>
          <p:grpSpPr bwMode="gray">
            <a:xfrm>
              <a:off x="407368" y="-82436"/>
              <a:ext cx="11377264" cy="72000"/>
              <a:chOff x="407368" y="0"/>
              <a:chExt cx="11377264" cy="108000"/>
            </a:xfrm>
          </p:grpSpPr>
          <p:sp>
            <p:nvSpPr>
              <p:cNvPr id="19" name="Freihandform 18"/>
              <p:cNvSpPr/>
              <p:nvPr userDrawn="1"/>
            </p:nvSpPr>
            <p:spPr bwMode="gray">
              <a:xfrm>
                <a:off x="595198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0" name="Freihandform 19"/>
              <p:cNvSpPr/>
              <p:nvPr userDrawn="1"/>
            </p:nvSpPr>
            <p:spPr bwMode="gray">
              <a:xfrm>
                <a:off x="407368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1" name="Freihandform 20"/>
              <p:cNvSpPr/>
              <p:nvPr userDrawn="1"/>
            </p:nvSpPr>
            <p:spPr bwMode="gray">
              <a:xfrm>
                <a:off x="117846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2" name="Freihandform 21"/>
              <p:cNvSpPr/>
              <p:nvPr userDrawn="1"/>
            </p:nvSpPr>
            <p:spPr bwMode="gray">
              <a:xfrm>
                <a:off x="6240016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8" name="Gruppieren 7"/>
            <p:cNvGrpSpPr/>
            <p:nvPr userDrawn="1"/>
          </p:nvGrpSpPr>
          <p:grpSpPr bwMode="gray">
            <a:xfrm>
              <a:off x="407368" y="6868436"/>
              <a:ext cx="11377264" cy="72000"/>
              <a:chOff x="407368" y="0"/>
              <a:chExt cx="11377264" cy="108000"/>
            </a:xfrm>
          </p:grpSpPr>
          <p:sp>
            <p:nvSpPr>
              <p:cNvPr id="15" name="Freihandform 14"/>
              <p:cNvSpPr/>
              <p:nvPr userDrawn="1"/>
            </p:nvSpPr>
            <p:spPr bwMode="gray">
              <a:xfrm>
                <a:off x="595198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6" name="Freihandform 15"/>
              <p:cNvSpPr/>
              <p:nvPr userDrawn="1"/>
            </p:nvSpPr>
            <p:spPr bwMode="gray">
              <a:xfrm>
                <a:off x="407368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7" name="Freihandform 16"/>
              <p:cNvSpPr/>
              <p:nvPr userDrawn="1"/>
            </p:nvSpPr>
            <p:spPr bwMode="gray">
              <a:xfrm>
                <a:off x="117846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8" name="Freihandform 17"/>
              <p:cNvSpPr/>
              <p:nvPr userDrawn="1"/>
            </p:nvSpPr>
            <p:spPr bwMode="gray">
              <a:xfrm>
                <a:off x="6240016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9" name="Gruppieren 8"/>
            <p:cNvGrpSpPr/>
            <p:nvPr userDrawn="1"/>
          </p:nvGrpSpPr>
          <p:grpSpPr bwMode="gray">
            <a:xfrm rot="5400000">
              <a:off x="-2424758" y="3789044"/>
              <a:ext cx="4752528" cy="72000"/>
              <a:chOff x="731404" y="0"/>
              <a:chExt cx="4752528" cy="108000"/>
            </a:xfrm>
          </p:grpSpPr>
          <p:sp>
            <p:nvSpPr>
              <p:cNvPr id="13" name="Freihandform 12"/>
              <p:cNvSpPr/>
              <p:nvPr userDrawn="1"/>
            </p:nvSpPr>
            <p:spPr bwMode="gray">
              <a:xfrm>
                <a:off x="54839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4" name="Freihandform 13"/>
              <p:cNvSpPr/>
              <p:nvPr userDrawn="1"/>
            </p:nvSpPr>
            <p:spPr bwMode="gray">
              <a:xfrm>
                <a:off x="73140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" name="Gruppieren 9"/>
            <p:cNvGrpSpPr/>
            <p:nvPr userDrawn="1"/>
          </p:nvGrpSpPr>
          <p:grpSpPr bwMode="gray">
            <a:xfrm rot="5400000">
              <a:off x="9864230" y="3789044"/>
              <a:ext cx="4752528" cy="72000"/>
              <a:chOff x="731404" y="0"/>
              <a:chExt cx="4752528" cy="108000"/>
            </a:xfrm>
          </p:grpSpPr>
          <p:sp>
            <p:nvSpPr>
              <p:cNvPr id="11" name="Freihandform 10"/>
              <p:cNvSpPr/>
              <p:nvPr userDrawn="1"/>
            </p:nvSpPr>
            <p:spPr bwMode="gray">
              <a:xfrm>
                <a:off x="54839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" name="Freihandform 11"/>
              <p:cNvSpPr/>
              <p:nvPr userDrawn="1"/>
            </p:nvSpPr>
            <p:spPr bwMode="gray">
              <a:xfrm>
                <a:off x="73140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29" name="正方形/長方形 28"/>
          <p:cNvSpPr/>
          <p:nvPr userDrawn="1"/>
        </p:nvSpPr>
        <p:spPr>
          <a:xfrm>
            <a:off x="0" y="6516000"/>
            <a:ext cx="12192000" cy="34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30" name="Grafik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920705" y="6624301"/>
            <a:ext cx="863927" cy="163254"/>
          </a:xfrm>
          <a:prstGeom prst="rect">
            <a:avLst/>
          </a:prstGeom>
        </p:spPr>
      </p:pic>
      <p:sp>
        <p:nvSpPr>
          <p:cNvPr id="31" name="フッター プレースホルダー 3"/>
          <p:cNvSpPr txBox="1">
            <a:spLocks/>
          </p:cNvSpPr>
          <p:nvPr userDrawn="1"/>
        </p:nvSpPr>
        <p:spPr>
          <a:xfrm>
            <a:off x="372852" y="6552000"/>
            <a:ext cx="754915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ja-JP" dirty="0" smtClean="0"/>
              <a:t>Page </a:t>
            </a:r>
            <a:fld id="{D3A7D11D-3B3A-48A6-84AD-CB21087E2F77}" type="slidenum">
              <a:rPr lang="en-US" altLang="ja-JP" smtClean="0"/>
              <a:pPr algn="l"/>
              <a:t>‹#›</a:t>
            </a:fld>
            <a:endParaRPr lang="en-US" altLang="ja-JP" dirty="0" smtClean="0"/>
          </a:p>
        </p:txBody>
      </p:sp>
      <p:sp>
        <p:nvSpPr>
          <p:cNvPr id="32" name="フッター プレースホルダー 3"/>
          <p:cNvSpPr txBox="1">
            <a:spLocks/>
          </p:cNvSpPr>
          <p:nvPr userDrawn="1"/>
        </p:nvSpPr>
        <p:spPr>
          <a:xfrm>
            <a:off x="1059067" y="6552000"/>
            <a:ext cx="4028821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10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 data copy / No data transfer permitted</a:t>
            </a:r>
            <a:endParaRPr lang="en-US" altLang="ja-JP" b="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558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ihandform 5"/>
          <p:cNvSpPr/>
          <p:nvPr userDrawn="1"/>
        </p:nvSpPr>
        <p:spPr bwMode="gray">
          <a:xfrm>
            <a:off x="0" y="1152525"/>
            <a:ext cx="5292000" cy="0"/>
          </a:xfrm>
          <a:custGeom>
            <a:avLst/>
            <a:gdLst>
              <a:gd name="connsiteX0" fmla="*/ 0 w 409575"/>
              <a:gd name="connsiteY0" fmla="*/ 0 h 0"/>
              <a:gd name="connsiteX1" fmla="*/ 409575 w 40957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09575">
                <a:moveTo>
                  <a:pt x="0" y="0"/>
                </a:moveTo>
                <a:lnTo>
                  <a:pt x="409575" y="0"/>
                </a:lnTo>
              </a:path>
            </a:pathLst>
          </a:cu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7" name="Ellipse 6"/>
          <p:cNvSpPr/>
          <p:nvPr userDrawn="1"/>
        </p:nvSpPr>
        <p:spPr bwMode="gray">
          <a:xfrm>
            <a:off x="5562600" y="619125"/>
            <a:ext cx="1066800" cy="1066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8" name="Freeform 131"/>
          <p:cNvSpPr>
            <a:spLocks/>
          </p:cNvSpPr>
          <p:nvPr userDrawn="1"/>
        </p:nvSpPr>
        <p:spPr bwMode="gray">
          <a:xfrm rot="16200000" flipH="1">
            <a:off x="5958255" y="892983"/>
            <a:ext cx="275491" cy="519084"/>
          </a:xfrm>
          <a:custGeom>
            <a:avLst/>
            <a:gdLst/>
            <a:ahLst/>
            <a:cxnLst>
              <a:cxn ang="0">
                <a:pos x="18" y="0"/>
              </a:cxn>
              <a:cxn ang="0">
                <a:pos x="0" y="21"/>
              </a:cxn>
              <a:cxn ang="0">
                <a:pos x="60" y="89"/>
              </a:cxn>
              <a:cxn ang="0">
                <a:pos x="0" y="158"/>
              </a:cxn>
              <a:cxn ang="0">
                <a:pos x="18" y="179"/>
              </a:cxn>
              <a:cxn ang="0">
                <a:pos x="95" y="89"/>
              </a:cxn>
              <a:cxn ang="0">
                <a:pos x="18" y="0"/>
              </a:cxn>
            </a:cxnLst>
            <a:rect l="0" t="0" r="r" b="b"/>
            <a:pathLst>
              <a:path w="95" h="179">
                <a:moveTo>
                  <a:pt x="18" y="0"/>
                </a:moveTo>
                <a:lnTo>
                  <a:pt x="0" y="21"/>
                </a:lnTo>
                <a:lnTo>
                  <a:pt x="60" y="89"/>
                </a:lnTo>
                <a:lnTo>
                  <a:pt x="0" y="158"/>
                </a:lnTo>
                <a:lnTo>
                  <a:pt x="18" y="179"/>
                </a:lnTo>
                <a:lnTo>
                  <a:pt x="95" y="89"/>
                </a:lnTo>
                <a:lnTo>
                  <a:pt x="18" y="0"/>
                </a:ln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2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 dirty="0"/>
          </a:p>
        </p:txBody>
      </p:sp>
      <p:sp>
        <p:nvSpPr>
          <p:cNvPr id="9" name="Freihandform 8"/>
          <p:cNvSpPr/>
          <p:nvPr userDrawn="1"/>
        </p:nvSpPr>
        <p:spPr bwMode="gray">
          <a:xfrm>
            <a:off x="6900000" y="1152525"/>
            <a:ext cx="5292000" cy="0"/>
          </a:xfrm>
          <a:custGeom>
            <a:avLst/>
            <a:gdLst>
              <a:gd name="connsiteX0" fmla="*/ 0 w 409575"/>
              <a:gd name="connsiteY0" fmla="*/ 0 h 0"/>
              <a:gd name="connsiteX1" fmla="*/ 409575 w 40957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09575">
                <a:moveTo>
                  <a:pt x="0" y="0"/>
                </a:moveTo>
                <a:lnTo>
                  <a:pt x="409575" y="0"/>
                </a:lnTo>
              </a:path>
            </a:pathLst>
          </a:cu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0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596000" y="2362482"/>
            <a:ext cx="9000000" cy="2769989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 sz="3000" b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ja-JP" altLang="en-US" noProof="0" dirty="0" smtClean="0"/>
              <a:t>本文テキストです。本文テキストです。本文テキストです。本文テキストです。本文テキストです。本文テキストです。本文テキストです。本文テキストです。本文テキストです。本文テキストです。本文テキストです。本文テキストです。本文テキストです。本文テキストです。本文テキストです。</a:t>
            </a:r>
            <a:endParaRPr lang="en-US" altLang="ja-JP" noProof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lang="en-US" altLang="ja-JP" noProof="0" dirty="0" smtClean="0"/>
          </a:p>
        </p:txBody>
      </p:sp>
      <p:sp>
        <p:nvSpPr>
          <p:cNvPr id="34" name="正方形/長方形 33"/>
          <p:cNvSpPr/>
          <p:nvPr userDrawn="1"/>
        </p:nvSpPr>
        <p:spPr>
          <a:xfrm>
            <a:off x="0" y="6516000"/>
            <a:ext cx="12192000" cy="34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35" name="Grafik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920705" y="6624301"/>
            <a:ext cx="863927" cy="163254"/>
          </a:xfrm>
          <a:prstGeom prst="rect">
            <a:avLst/>
          </a:prstGeom>
        </p:spPr>
      </p:pic>
      <p:sp>
        <p:nvSpPr>
          <p:cNvPr id="36" name="フッター プレースホルダー 3"/>
          <p:cNvSpPr txBox="1">
            <a:spLocks/>
          </p:cNvSpPr>
          <p:nvPr userDrawn="1"/>
        </p:nvSpPr>
        <p:spPr>
          <a:xfrm>
            <a:off x="372852" y="6552000"/>
            <a:ext cx="754915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ja-JP" dirty="0" smtClean="0"/>
              <a:t>Page </a:t>
            </a:r>
            <a:fld id="{D3A7D11D-3B3A-48A6-84AD-CB21087E2F77}" type="slidenum">
              <a:rPr lang="en-US" altLang="ja-JP" smtClean="0"/>
              <a:pPr algn="l"/>
              <a:t>‹#›</a:t>
            </a:fld>
            <a:endParaRPr lang="en-US" altLang="ja-JP" dirty="0" smtClean="0"/>
          </a:p>
        </p:txBody>
      </p:sp>
      <p:sp>
        <p:nvSpPr>
          <p:cNvPr id="37" name="フッター プレースホルダー 3"/>
          <p:cNvSpPr txBox="1">
            <a:spLocks/>
          </p:cNvSpPr>
          <p:nvPr userDrawn="1"/>
        </p:nvSpPr>
        <p:spPr>
          <a:xfrm>
            <a:off x="1059067" y="6552000"/>
            <a:ext cx="4028821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10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 data copy / No data transfer permitted</a:t>
            </a:r>
            <a:endParaRPr lang="en-US" altLang="ja-JP" b="0" dirty="0" smtClean="0">
              <a:solidFill>
                <a:schemeClr val="tx1"/>
              </a:solidFill>
            </a:endParaRPr>
          </a:p>
        </p:txBody>
      </p:sp>
      <p:grpSp>
        <p:nvGrpSpPr>
          <p:cNvPr id="49" name="グループ化 48"/>
          <p:cNvGrpSpPr/>
          <p:nvPr userDrawn="1"/>
        </p:nvGrpSpPr>
        <p:grpSpPr>
          <a:xfrm>
            <a:off x="-100749" y="-82436"/>
            <a:ext cx="12360988" cy="7022872"/>
            <a:chOff x="-100749" y="-82436"/>
            <a:chExt cx="12360988" cy="7022872"/>
          </a:xfrm>
        </p:grpSpPr>
        <p:grpSp>
          <p:nvGrpSpPr>
            <p:cNvPr id="50" name="Gruppieren 31"/>
            <p:cNvGrpSpPr/>
            <p:nvPr userDrawn="1"/>
          </p:nvGrpSpPr>
          <p:grpSpPr bwMode="gray">
            <a:xfrm>
              <a:off x="407368" y="6868436"/>
              <a:ext cx="11377264" cy="72000"/>
              <a:chOff x="407368" y="0"/>
              <a:chExt cx="11377264" cy="108000"/>
            </a:xfrm>
          </p:grpSpPr>
          <p:sp>
            <p:nvSpPr>
              <p:cNvPr id="62" name="Freihandform 32"/>
              <p:cNvSpPr/>
              <p:nvPr userDrawn="1"/>
            </p:nvSpPr>
            <p:spPr bwMode="gray">
              <a:xfrm>
                <a:off x="595198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3" name="Freihandform 33"/>
              <p:cNvSpPr/>
              <p:nvPr userDrawn="1"/>
            </p:nvSpPr>
            <p:spPr bwMode="gray">
              <a:xfrm>
                <a:off x="407368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4" name="Freihandform 34"/>
              <p:cNvSpPr/>
              <p:nvPr userDrawn="1"/>
            </p:nvSpPr>
            <p:spPr bwMode="gray">
              <a:xfrm>
                <a:off x="117846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5" name="Freihandform 35"/>
              <p:cNvSpPr/>
              <p:nvPr userDrawn="1"/>
            </p:nvSpPr>
            <p:spPr bwMode="gray">
              <a:xfrm>
                <a:off x="6240016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51" name="Gruppieren 30"/>
            <p:cNvGrpSpPr/>
            <p:nvPr userDrawn="1"/>
          </p:nvGrpSpPr>
          <p:grpSpPr bwMode="gray">
            <a:xfrm>
              <a:off x="391113" y="-82436"/>
              <a:ext cx="11377264" cy="72000"/>
              <a:chOff x="407368" y="0"/>
              <a:chExt cx="11377264" cy="108000"/>
            </a:xfrm>
          </p:grpSpPr>
          <p:sp>
            <p:nvSpPr>
              <p:cNvPr id="58" name="Freihandform 26"/>
              <p:cNvSpPr/>
              <p:nvPr userDrawn="1"/>
            </p:nvSpPr>
            <p:spPr bwMode="gray">
              <a:xfrm>
                <a:off x="595198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9" name="Freihandform 27"/>
              <p:cNvSpPr/>
              <p:nvPr userDrawn="1"/>
            </p:nvSpPr>
            <p:spPr bwMode="gray">
              <a:xfrm>
                <a:off x="407368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0" name="Freihandform 28"/>
              <p:cNvSpPr/>
              <p:nvPr userDrawn="1"/>
            </p:nvSpPr>
            <p:spPr bwMode="gray">
              <a:xfrm>
                <a:off x="117846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1" name="Freihandform 29"/>
              <p:cNvSpPr/>
              <p:nvPr userDrawn="1"/>
            </p:nvSpPr>
            <p:spPr bwMode="gray">
              <a:xfrm>
                <a:off x="6240016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52" name="グループ化 51"/>
            <p:cNvGrpSpPr/>
            <p:nvPr userDrawn="1"/>
          </p:nvGrpSpPr>
          <p:grpSpPr>
            <a:xfrm>
              <a:off x="-100749" y="1216200"/>
              <a:ext cx="72000" cy="4985108"/>
              <a:chOff x="-84494" y="1216200"/>
              <a:chExt cx="72000" cy="4985108"/>
            </a:xfrm>
          </p:grpSpPr>
          <p:sp>
            <p:nvSpPr>
              <p:cNvPr id="56" name="Freihandform 37"/>
              <p:cNvSpPr/>
              <p:nvPr userDrawn="1"/>
            </p:nvSpPr>
            <p:spPr bwMode="gray">
              <a:xfrm rot="5400000">
                <a:off x="-48494" y="6165308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7" name="Freihandform 38"/>
              <p:cNvSpPr/>
              <p:nvPr userDrawn="1"/>
            </p:nvSpPr>
            <p:spPr bwMode="gray">
              <a:xfrm rot="5400000">
                <a:off x="-48494" y="1180200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53" name="グループ化 52"/>
            <p:cNvGrpSpPr/>
            <p:nvPr userDrawn="1"/>
          </p:nvGrpSpPr>
          <p:grpSpPr>
            <a:xfrm>
              <a:off x="12188239" y="1216200"/>
              <a:ext cx="72000" cy="4985108"/>
              <a:chOff x="12204494" y="1216200"/>
              <a:chExt cx="72000" cy="4985108"/>
            </a:xfrm>
          </p:grpSpPr>
          <p:sp>
            <p:nvSpPr>
              <p:cNvPr id="54" name="Freihandform 42"/>
              <p:cNvSpPr/>
              <p:nvPr userDrawn="1"/>
            </p:nvSpPr>
            <p:spPr bwMode="gray">
              <a:xfrm rot="5400000">
                <a:off x="12240494" y="6165308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5" name="Freihandform 43"/>
              <p:cNvSpPr/>
              <p:nvPr userDrawn="1"/>
            </p:nvSpPr>
            <p:spPr bwMode="gray">
              <a:xfrm rot="5400000">
                <a:off x="12240494" y="1180200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49810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ihandform 5"/>
          <p:cNvSpPr/>
          <p:nvPr userDrawn="1"/>
        </p:nvSpPr>
        <p:spPr bwMode="gray">
          <a:xfrm>
            <a:off x="0" y="1152525"/>
            <a:ext cx="5292000" cy="0"/>
          </a:xfrm>
          <a:custGeom>
            <a:avLst/>
            <a:gdLst>
              <a:gd name="connsiteX0" fmla="*/ 0 w 409575"/>
              <a:gd name="connsiteY0" fmla="*/ 0 h 0"/>
              <a:gd name="connsiteX1" fmla="*/ 409575 w 40957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09575">
                <a:moveTo>
                  <a:pt x="0" y="0"/>
                </a:moveTo>
                <a:lnTo>
                  <a:pt x="409575" y="0"/>
                </a:lnTo>
              </a:path>
            </a:pathLst>
          </a:cu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9" name="Freihandform 8"/>
          <p:cNvSpPr/>
          <p:nvPr userDrawn="1"/>
        </p:nvSpPr>
        <p:spPr bwMode="gray">
          <a:xfrm>
            <a:off x="6900000" y="1152525"/>
            <a:ext cx="5292000" cy="0"/>
          </a:xfrm>
          <a:custGeom>
            <a:avLst/>
            <a:gdLst>
              <a:gd name="connsiteX0" fmla="*/ 0 w 409575"/>
              <a:gd name="connsiteY0" fmla="*/ 0 h 0"/>
              <a:gd name="connsiteX1" fmla="*/ 409575 w 40957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09575">
                <a:moveTo>
                  <a:pt x="0" y="0"/>
                </a:moveTo>
                <a:lnTo>
                  <a:pt x="409575" y="0"/>
                </a:lnTo>
              </a:path>
            </a:pathLst>
          </a:cu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0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596000" y="2362482"/>
            <a:ext cx="9000000" cy="2308324"/>
          </a:xfrm>
        </p:spPr>
        <p:txBody>
          <a:bodyPr wrap="square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 sz="3000" b="0" i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ja-JP" altLang="en-US" noProof="0" dirty="0" smtClean="0"/>
              <a:t>本文テキストです。本文テキストです。本文テキストです。本文テキストです。本文テキストです。本文テキストです。本文テキストです。本文テキストです。本文テキストです。本文テキストです。本文テキストです。本文テキストです。本文テキストです。本文テキストです。</a:t>
            </a:r>
            <a:endParaRPr lang="en-US" altLang="ja-JP" noProof="0" dirty="0" smtClean="0"/>
          </a:p>
        </p:txBody>
      </p:sp>
      <p:grpSp>
        <p:nvGrpSpPr>
          <p:cNvPr id="2" name="Gruppieren 1"/>
          <p:cNvGrpSpPr/>
          <p:nvPr userDrawn="1"/>
        </p:nvGrpSpPr>
        <p:grpSpPr bwMode="gray">
          <a:xfrm>
            <a:off x="5562600" y="619125"/>
            <a:ext cx="1066800" cy="1066800"/>
            <a:chOff x="5562600" y="619125"/>
            <a:chExt cx="1066800" cy="1066800"/>
          </a:xfrm>
        </p:grpSpPr>
        <p:sp>
          <p:nvSpPr>
            <p:cNvPr id="7" name="Ellipse 6"/>
            <p:cNvSpPr/>
            <p:nvPr userDrawn="1"/>
          </p:nvSpPr>
          <p:spPr bwMode="gray">
            <a:xfrm>
              <a:off x="5562600" y="619125"/>
              <a:ext cx="1066800" cy="1066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  <p:sp>
          <p:nvSpPr>
            <p:cNvPr id="11" name="Freeform 5"/>
            <p:cNvSpPr>
              <a:spLocks/>
            </p:cNvSpPr>
            <p:nvPr userDrawn="1"/>
          </p:nvSpPr>
          <p:spPr bwMode="gray">
            <a:xfrm>
              <a:off x="5809986" y="896419"/>
              <a:ext cx="252041" cy="512213"/>
            </a:xfrm>
            <a:custGeom>
              <a:avLst/>
              <a:gdLst>
                <a:gd name="T0" fmla="*/ 153 w 2018"/>
                <a:gd name="T1" fmla="*/ 0 h 4095"/>
                <a:gd name="T2" fmla="*/ 2018 w 2018"/>
                <a:gd name="T3" fmla="*/ 0 h 4095"/>
                <a:gd name="T4" fmla="*/ 2018 w 2018"/>
                <a:gd name="T5" fmla="*/ 1358 h 4095"/>
                <a:gd name="T6" fmla="*/ 1876 w 2018"/>
                <a:gd name="T7" fmla="*/ 2649 h 4095"/>
                <a:gd name="T8" fmla="*/ 1344 w 2018"/>
                <a:gd name="T9" fmla="*/ 3500 h 4095"/>
                <a:gd name="T10" fmla="*/ 365 w 2018"/>
                <a:gd name="T11" fmla="*/ 4095 h 4095"/>
                <a:gd name="T12" fmla="*/ 0 w 2018"/>
                <a:gd name="T13" fmla="*/ 3308 h 4095"/>
                <a:gd name="T14" fmla="*/ 800 w 2018"/>
                <a:gd name="T15" fmla="*/ 2784 h 4095"/>
                <a:gd name="T16" fmla="*/ 1049 w 2018"/>
                <a:gd name="T17" fmla="*/ 1890 h 4095"/>
                <a:gd name="T18" fmla="*/ 153 w 2018"/>
                <a:gd name="T19" fmla="*/ 1890 h 4095"/>
                <a:gd name="T20" fmla="*/ 153 w 2018"/>
                <a:gd name="T21" fmla="*/ 0 h 4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18" h="4095">
                  <a:moveTo>
                    <a:pt x="153" y="0"/>
                  </a:moveTo>
                  <a:cubicBezTo>
                    <a:pt x="2018" y="0"/>
                    <a:pt x="2018" y="0"/>
                    <a:pt x="2018" y="0"/>
                  </a:cubicBezTo>
                  <a:cubicBezTo>
                    <a:pt x="2018" y="1358"/>
                    <a:pt x="2018" y="1358"/>
                    <a:pt x="2018" y="1358"/>
                  </a:cubicBezTo>
                  <a:cubicBezTo>
                    <a:pt x="2018" y="1905"/>
                    <a:pt x="1971" y="2335"/>
                    <a:pt x="1876" y="2649"/>
                  </a:cubicBezTo>
                  <a:cubicBezTo>
                    <a:pt x="1780" y="2963"/>
                    <a:pt x="1603" y="3246"/>
                    <a:pt x="1344" y="3500"/>
                  </a:cubicBezTo>
                  <a:cubicBezTo>
                    <a:pt x="1085" y="3753"/>
                    <a:pt x="759" y="3951"/>
                    <a:pt x="365" y="4095"/>
                  </a:cubicBezTo>
                  <a:cubicBezTo>
                    <a:pt x="0" y="3308"/>
                    <a:pt x="0" y="3308"/>
                    <a:pt x="0" y="3308"/>
                  </a:cubicBezTo>
                  <a:cubicBezTo>
                    <a:pt x="372" y="3183"/>
                    <a:pt x="638" y="3008"/>
                    <a:pt x="800" y="2784"/>
                  </a:cubicBezTo>
                  <a:cubicBezTo>
                    <a:pt x="962" y="2560"/>
                    <a:pt x="1045" y="2262"/>
                    <a:pt x="1049" y="1890"/>
                  </a:cubicBezTo>
                  <a:cubicBezTo>
                    <a:pt x="153" y="1890"/>
                    <a:pt x="153" y="1890"/>
                    <a:pt x="153" y="1890"/>
                  </a:cubicBezTo>
                  <a:cubicBezTo>
                    <a:pt x="153" y="0"/>
                    <a:pt x="153" y="0"/>
                    <a:pt x="15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gray">
            <a:xfrm>
              <a:off x="6129974" y="896419"/>
              <a:ext cx="252041" cy="512213"/>
            </a:xfrm>
            <a:custGeom>
              <a:avLst/>
              <a:gdLst>
                <a:gd name="T0" fmla="*/ 153 w 2018"/>
                <a:gd name="T1" fmla="*/ 0 h 4095"/>
                <a:gd name="T2" fmla="*/ 2018 w 2018"/>
                <a:gd name="T3" fmla="*/ 0 h 4095"/>
                <a:gd name="T4" fmla="*/ 2018 w 2018"/>
                <a:gd name="T5" fmla="*/ 1358 h 4095"/>
                <a:gd name="T6" fmla="*/ 1876 w 2018"/>
                <a:gd name="T7" fmla="*/ 2649 h 4095"/>
                <a:gd name="T8" fmla="*/ 1344 w 2018"/>
                <a:gd name="T9" fmla="*/ 3500 h 4095"/>
                <a:gd name="T10" fmla="*/ 365 w 2018"/>
                <a:gd name="T11" fmla="*/ 4095 h 4095"/>
                <a:gd name="T12" fmla="*/ 0 w 2018"/>
                <a:gd name="T13" fmla="*/ 3308 h 4095"/>
                <a:gd name="T14" fmla="*/ 800 w 2018"/>
                <a:gd name="T15" fmla="*/ 2784 h 4095"/>
                <a:gd name="T16" fmla="*/ 1049 w 2018"/>
                <a:gd name="T17" fmla="*/ 1890 h 4095"/>
                <a:gd name="T18" fmla="*/ 153 w 2018"/>
                <a:gd name="T19" fmla="*/ 1890 h 4095"/>
                <a:gd name="T20" fmla="*/ 153 w 2018"/>
                <a:gd name="T21" fmla="*/ 0 h 4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18" h="4095">
                  <a:moveTo>
                    <a:pt x="153" y="0"/>
                  </a:moveTo>
                  <a:cubicBezTo>
                    <a:pt x="2018" y="0"/>
                    <a:pt x="2018" y="0"/>
                    <a:pt x="2018" y="0"/>
                  </a:cubicBezTo>
                  <a:cubicBezTo>
                    <a:pt x="2018" y="1358"/>
                    <a:pt x="2018" y="1358"/>
                    <a:pt x="2018" y="1358"/>
                  </a:cubicBezTo>
                  <a:cubicBezTo>
                    <a:pt x="2018" y="1905"/>
                    <a:pt x="1971" y="2335"/>
                    <a:pt x="1876" y="2649"/>
                  </a:cubicBezTo>
                  <a:cubicBezTo>
                    <a:pt x="1780" y="2963"/>
                    <a:pt x="1603" y="3246"/>
                    <a:pt x="1344" y="3500"/>
                  </a:cubicBezTo>
                  <a:cubicBezTo>
                    <a:pt x="1085" y="3753"/>
                    <a:pt x="759" y="3951"/>
                    <a:pt x="365" y="4095"/>
                  </a:cubicBezTo>
                  <a:cubicBezTo>
                    <a:pt x="0" y="3308"/>
                    <a:pt x="0" y="3308"/>
                    <a:pt x="0" y="3308"/>
                  </a:cubicBezTo>
                  <a:cubicBezTo>
                    <a:pt x="372" y="3183"/>
                    <a:pt x="638" y="3008"/>
                    <a:pt x="800" y="2784"/>
                  </a:cubicBezTo>
                  <a:cubicBezTo>
                    <a:pt x="962" y="2560"/>
                    <a:pt x="1045" y="2262"/>
                    <a:pt x="1049" y="1890"/>
                  </a:cubicBezTo>
                  <a:cubicBezTo>
                    <a:pt x="153" y="1890"/>
                    <a:pt x="153" y="1890"/>
                    <a:pt x="153" y="1890"/>
                  </a:cubicBezTo>
                  <a:cubicBezTo>
                    <a:pt x="153" y="0"/>
                    <a:pt x="153" y="0"/>
                    <a:pt x="15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13" name="Freihandform 12"/>
          <p:cNvSpPr/>
          <p:nvPr userDrawn="1"/>
        </p:nvSpPr>
        <p:spPr bwMode="gray">
          <a:xfrm>
            <a:off x="5718000" y="5950134"/>
            <a:ext cx="756000" cy="0"/>
          </a:xfrm>
          <a:custGeom>
            <a:avLst/>
            <a:gdLst>
              <a:gd name="connsiteX0" fmla="*/ 0 w 409575"/>
              <a:gd name="connsiteY0" fmla="*/ 0 h 0"/>
              <a:gd name="connsiteX1" fmla="*/ 409575 w 40957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09575">
                <a:moveTo>
                  <a:pt x="0" y="0"/>
                </a:moveTo>
                <a:lnTo>
                  <a:pt x="409575" y="0"/>
                </a:lnTo>
              </a:path>
            </a:pathLst>
          </a:cu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596000" y="5044534"/>
            <a:ext cx="9000000" cy="184666"/>
          </a:xfr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0" i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ja-JP" altLang="en-US" noProof="0" dirty="0" smtClean="0"/>
              <a:t>氏名</a:t>
            </a:r>
            <a:endParaRPr lang="en-US" noProof="0" dirty="0" smtClean="0"/>
          </a:p>
        </p:txBody>
      </p:sp>
      <p:sp>
        <p:nvSpPr>
          <p:cNvPr id="39" name="正方形/長方形 38"/>
          <p:cNvSpPr/>
          <p:nvPr userDrawn="1"/>
        </p:nvSpPr>
        <p:spPr>
          <a:xfrm>
            <a:off x="0" y="6516000"/>
            <a:ext cx="12192000" cy="34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40" name="Grafik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920705" y="6624301"/>
            <a:ext cx="863927" cy="163254"/>
          </a:xfrm>
          <a:prstGeom prst="rect">
            <a:avLst/>
          </a:prstGeom>
        </p:spPr>
      </p:pic>
      <p:sp>
        <p:nvSpPr>
          <p:cNvPr id="41" name="フッター プレースホルダー 3"/>
          <p:cNvSpPr txBox="1">
            <a:spLocks/>
          </p:cNvSpPr>
          <p:nvPr userDrawn="1"/>
        </p:nvSpPr>
        <p:spPr>
          <a:xfrm>
            <a:off x="372852" y="6552000"/>
            <a:ext cx="754915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ja-JP" dirty="0" smtClean="0"/>
              <a:t>Page </a:t>
            </a:r>
            <a:fld id="{D3A7D11D-3B3A-48A6-84AD-CB21087E2F77}" type="slidenum">
              <a:rPr lang="en-US" altLang="ja-JP" smtClean="0"/>
              <a:pPr algn="l"/>
              <a:t>‹#›</a:t>
            </a:fld>
            <a:endParaRPr lang="en-US" altLang="ja-JP" dirty="0" smtClean="0"/>
          </a:p>
        </p:txBody>
      </p:sp>
      <p:sp>
        <p:nvSpPr>
          <p:cNvPr id="42" name="フッター プレースホルダー 3"/>
          <p:cNvSpPr txBox="1">
            <a:spLocks/>
          </p:cNvSpPr>
          <p:nvPr userDrawn="1"/>
        </p:nvSpPr>
        <p:spPr>
          <a:xfrm>
            <a:off x="1059067" y="6552000"/>
            <a:ext cx="4028821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10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 data copy / No data transfer permitted</a:t>
            </a:r>
            <a:endParaRPr lang="en-US" altLang="ja-JP" b="0" dirty="0" smtClean="0">
              <a:solidFill>
                <a:schemeClr val="tx1"/>
              </a:solidFill>
            </a:endParaRPr>
          </a:p>
        </p:txBody>
      </p:sp>
      <p:grpSp>
        <p:nvGrpSpPr>
          <p:cNvPr id="32" name="グループ化 31"/>
          <p:cNvGrpSpPr/>
          <p:nvPr userDrawn="1"/>
        </p:nvGrpSpPr>
        <p:grpSpPr>
          <a:xfrm>
            <a:off x="-100749" y="-82436"/>
            <a:ext cx="12360988" cy="7022872"/>
            <a:chOff x="-100749" y="-82436"/>
            <a:chExt cx="12360988" cy="7022872"/>
          </a:xfrm>
        </p:grpSpPr>
        <p:grpSp>
          <p:nvGrpSpPr>
            <p:cNvPr id="33" name="Gruppieren 31"/>
            <p:cNvGrpSpPr/>
            <p:nvPr userDrawn="1"/>
          </p:nvGrpSpPr>
          <p:grpSpPr bwMode="gray">
            <a:xfrm>
              <a:off x="407368" y="6868436"/>
              <a:ext cx="11377264" cy="72000"/>
              <a:chOff x="407368" y="0"/>
              <a:chExt cx="11377264" cy="108000"/>
            </a:xfrm>
          </p:grpSpPr>
          <p:sp>
            <p:nvSpPr>
              <p:cNvPr id="49" name="Freihandform 32"/>
              <p:cNvSpPr/>
              <p:nvPr userDrawn="1"/>
            </p:nvSpPr>
            <p:spPr bwMode="gray">
              <a:xfrm>
                <a:off x="595198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0" name="Freihandform 33"/>
              <p:cNvSpPr/>
              <p:nvPr userDrawn="1"/>
            </p:nvSpPr>
            <p:spPr bwMode="gray">
              <a:xfrm>
                <a:off x="407368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1" name="Freihandform 34"/>
              <p:cNvSpPr/>
              <p:nvPr userDrawn="1"/>
            </p:nvSpPr>
            <p:spPr bwMode="gray">
              <a:xfrm>
                <a:off x="117846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2" name="Freihandform 35"/>
              <p:cNvSpPr/>
              <p:nvPr userDrawn="1"/>
            </p:nvSpPr>
            <p:spPr bwMode="gray">
              <a:xfrm>
                <a:off x="6240016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34" name="Gruppieren 30"/>
            <p:cNvGrpSpPr/>
            <p:nvPr userDrawn="1"/>
          </p:nvGrpSpPr>
          <p:grpSpPr bwMode="gray">
            <a:xfrm>
              <a:off x="391113" y="-82436"/>
              <a:ext cx="11377264" cy="72000"/>
              <a:chOff x="407368" y="0"/>
              <a:chExt cx="11377264" cy="108000"/>
            </a:xfrm>
          </p:grpSpPr>
          <p:sp>
            <p:nvSpPr>
              <p:cNvPr id="45" name="Freihandform 26"/>
              <p:cNvSpPr/>
              <p:nvPr userDrawn="1"/>
            </p:nvSpPr>
            <p:spPr bwMode="gray">
              <a:xfrm>
                <a:off x="595198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6" name="Freihandform 27"/>
              <p:cNvSpPr/>
              <p:nvPr userDrawn="1"/>
            </p:nvSpPr>
            <p:spPr bwMode="gray">
              <a:xfrm>
                <a:off x="407368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7" name="Freihandform 28"/>
              <p:cNvSpPr/>
              <p:nvPr userDrawn="1"/>
            </p:nvSpPr>
            <p:spPr bwMode="gray">
              <a:xfrm>
                <a:off x="117846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8" name="Freihandform 29"/>
              <p:cNvSpPr/>
              <p:nvPr userDrawn="1"/>
            </p:nvSpPr>
            <p:spPr bwMode="gray">
              <a:xfrm>
                <a:off x="6240016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35" name="グループ化 34"/>
            <p:cNvGrpSpPr/>
            <p:nvPr userDrawn="1"/>
          </p:nvGrpSpPr>
          <p:grpSpPr>
            <a:xfrm>
              <a:off x="-100749" y="1216200"/>
              <a:ext cx="72000" cy="4985108"/>
              <a:chOff x="-84494" y="1216200"/>
              <a:chExt cx="72000" cy="4985108"/>
            </a:xfrm>
          </p:grpSpPr>
          <p:sp>
            <p:nvSpPr>
              <p:cNvPr id="43" name="Freihandform 37"/>
              <p:cNvSpPr/>
              <p:nvPr userDrawn="1"/>
            </p:nvSpPr>
            <p:spPr bwMode="gray">
              <a:xfrm rot="5400000">
                <a:off x="-48494" y="6165308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4" name="Freihandform 38"/>
              <p:cNvSpPr/>
              <p:nvPr userDrawn="1"/>
            </p:nvSpPr>
            <p:spPr bwMode="gray">
              <a:xfrm rot="5400000">
                <a:off x="-48494" y="1180200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36" name="グループ化 35"/>
            <p:cNvGrpSpPr/>
            <p:nvPr userDrawn="1"/>
          </p:nvGrpSpPr>
          <p:grpSpPr>
            <a:xfrm>
              <a:off x="12188239" y="1216200"/>
              <a:ext cx="72000" cy="4985108"/>
              <a:chOff x="12204494" y="1216200"/>
              <a:chExt cx="72000" cy="4985108"/>
            </a:xfrm>
          </p:grpSpPr>
          <p:sp>
            <p:nvSpPr>
              <p:cNvPr id="37" name="Freihandform 42"/>
              <p:cNvSpPr/>
              <p:nvPr userDrawn="1"/>
            </p:nvSpPr>
            <p:spPr bwMode="gray">
              <a:xfrm rot="5400000">
                <a:off x="12240494" y="6165308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8" name="Freihandform 43"/>
              <p:cNvSpPr/>
              <p:nvPr userDrawn="1"/>
            </p:nvSpPr>
            <p:spPr bwMode="gray">
              <a:xfrm rot="5400000">
                <a:off x="12240494" y="1180200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524560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9340" y="337707"/>
            <a:ext cx="1368000" cy="258509"/>
          </a:xfrm>
          <a:prstGeom prst="rect">
            <a:avLst/>
          </a:prstGeom>
        </p:spPr>
      </p:pic>
      <p:sp>
        <p:nvSpPr>
          <p:cNvPr id="33" name="Freihandform 2"/>
          <p:cNvSpPr/>
          <p:nvPr userDrawn="1"/>
        </p:nvSpPr>
        <p:spPr bwMode="gray">
          <a:xfrm>
            <a:off x="0" y="3507668"/>
            <a:ext cx="5292000" cy="0"/>
          </a:xfrm>
          <a:custGeom>
            <a:avLst/>
            <a:gdLst>
              <a:gd name="connsiteX0" fmla="*/ 0 w 409575"/>
              <a:gd name="connsiteY0" fmla="*/ 0 h 0"/>
              <a:gd name="connsiteX1" fmla="*/ 409575 w 40957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09575">
                <a:moveTo>
                  <a:pt x="0" y="0"/>
                </a:moveTo>
                <a:lnTo>
                  <a:pt x="409575" y="0"/>
                </a:lnTo>
              </a:path>
            </a:pathLst>
          </a:cu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4" name="Freihandform 3"/>
          <p:cNvSpPr/>
          <p:nvPr userDrawn="1"/>
        </p:nvSpPr>
        <p:spPr bwMode="gray">
          <a:xfrm>
            <a:off x="6900000" y="3507668"/>
            <a:ext cx="5292000" cy="0"/>
          </a:xfrm>
          <a:custGeom>
            <a:avLst/>
            <a:gdLst>
              <a:gd name="connsiteX0" fmla="*/ 0 w 409575"/>
              <a:gd name="connsiteY0" fmla="*/ 0 h 0"/>
              <a:gd name="connsiteX1" fmla="*/ 409575 w 40957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09575">
                <a:moveTo>
                  <a:pt x="0" y="0"/>
                </a:moveTo>
                <a:lnTo>
                  <a:pt x="409575" y="0"/>
                </a:lnTo>
              </a:path>
            </a:pathLst>
          </a:cu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grpSp>
        <p:nvGrpSpPr>
          <p:cNvPr id="35" name="Gruppieren 1"/>
          <p:cNvGrpSpPr/>
          <p:nvPr userDrawn="1"/>
        </p:nvGrpSpPr>
        <p:grpSpPr bwMode="gray">
          <a:xfrm>
            <a:off x="5562600" y="2974268"/>
            <a:ext cx="1066800" cy="1066800"/>
            <a:chOff x="5562600" y="2974268"/>
            <a:chExt cx="1066800" cy="1066800"/>
          </a:xfrm>
        </p:grpSpPr>
        <p:sp>
          <p:nvSpPr>
            <p:cNvPr id="53" name="Ellipse 5"/>
            <p:cNvSpPr/>
            <p:nvPr userDrawn="1"/>
          </p:nvSpPr>
          <p:spPr bwMode="gray">
            <a:xfrm>
              <a:off x="5562600" y="2974268"/>
              <a:ext cx="1066800" cy="1066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  <p:sp>
          <p:nvSpPr>
            <p:cNvPr id="54" name="Freeform 115"/>
            <p:cNvSpPr>
              <a:spLocks/>
            </p:cNvSpPr>
            <p:nvPr userDrawn="1"/>
          </p:nvSpPr>
          <p:spPr bwMode="gray">
            <a:xfrm>
              <a:off x="5833364" y="3260703"/>
              <a:ext cx="541259" cy="528957"/>
            </a:xfrm>
            <a:custGeom>
              <a:avLst/>
              <a:gdLst>
                <a:gd name="T0" fmla="*/ 110 w 112"/>
                <a:gd name="T1" fmla="*/ 22 h 109"/>
                <a:gd name="T2" fmla="*/ 90 w 112"/>
                <a:gd name="T3" fmla="*/ 3 h 109"/>
                <a:gd name="T4" fmla="*/ 22 w 112"/>
                <a:gd name="T5" fmla="*/ 3 h 109"/>
                <a:gd name="T6" fmla="*/ 2 w 112"/>
                <a:gd name="T7" fmla="*/ 22 h 109"/>
                <a:gd name="T8" fmla="*/ 2 w 112"/>
                <a:gd name="T9" fmla="*/ 65 h 109"/>
                <a:gd name="T10" fmla="*/ 22 w 112"/>
                <a:gd name="T11" fmla="*/ 84 h 109"/>
                <a:gd name="T12" fmla="*/ 32 w 112"/>
                <a:gd name="T13" fmla="*/ 85 h 109"/>
                <a:gd name="T14" fmla="*/ 32 w 112"/>
                <a:gd name="T15" fmla="*/ 105 h 109"/>
                <a:gd name="T16" fmla="*/ 34 w 112"/>
                <a:gd name="T17" fmla="*/ 109 h 109"/>
                <a:gd name="T18" fmla="*/ 36 w 112"/>
                <a:gd name="T19" fmla="*/ 109 h 109"/>
                <a:gd name="T20" fmla="*/ 39 w 112"/>
                <a:gd name="T21" fmla="*/ 108 h 109"/>
                <a:gd name="T22" fmla="*/ 63 w 112"/>
                <a:gd name="T23" fmla="*/ 85 h 109"/>
                <a:gd name="T24" fmla="*/ 90 w 112"/>
                <a:gd name="T25" fmla="*/ 83 h 109"/>
                <a:gd name="T26" fmla="*/ 110 w 112"/>
                <a:gd name="T27" fmla="*/ 65 h 109"/>
                <a:gd name="T28" fmla="*/ 110 w 112"/>
                <a:gd name="T29" fmla="*/ 2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2" h="109">
                  <a:moveTo>
                    <a:pt x="110" y="22"/>
                  </a:moveTo>
                  <a:cubicBezTo>
                    <a:pt x="109" y="12"/>
                    <a:pt x="99" y="4"/>
                    <a:pt x="90" y="3"/>
                  </a:cubicBezTo>
                  <a:cubicBezTo>
                    <a:pt x="67" y="0"/>
                    <a:pt x="45" y="0"/>
                    <a:pt x="22" y="3"/>
                  </a:cubicBezTo>
                  <a:cubicBezTo>
                    <a:pt x="13" y="4"/>
                    <a:pt x="4" y="13"/>
                    <a:pt x="2" y="22"/>
                  </a:cubicBezTo>
                  <a:cubicBezTo>
                    <a:pt x="0" y="36"/>
                    <a:pt x="0" y="51"/>
                    <a:pt x="2" y="65"/>
                  </a:cubicBezTo>
                  <a:cubicBezTo>
                    <a:pt x="4" y="74"/>
                    <a:pt x="13" y="83"/>
                    <a:pt x="22" y="84"/>
                  </a:cubicBezTo>
                  <a:cubicBezTo>
                    <a:pt x="26" y="84"/>
                    <a:pt x="29" y="84"/>
                    <a:pt x="32" y="85"/>
                  </a:cubicBezTo>
                  <a:cubicBezTo>
                    <a:pt x="32" y="105"/>
                    <a:pt x="32" y="105"/>
                    <a:pt x="32" y="105"/>
                  </a:cubicBezTo>
                  <a:cubicBezTo>
                    <a:pt x="32" y="106"/>
                    <a:pt x="33" y="108"/>
                    <a:pt x="34" y="109"/>
                  </a:cubicBezTo>
                  <a:cubicBezTo>
                    <a:pt x="35" y="109"/>
                    <a:pt x="35" y="109"/>
                    <a:pt x="36" y="109"/>
                  </a:cubicBezTo>
                  <a:cubicBezTo>
                    <a:pt x="37" y="109"/>
                    <a:pt x="38" y="108"/>
                    <a:pt x="39" y="108"/>
                  </a:cubicBezTo>
                  <a:cubicBezTo>
                    <a:pt x="63" y="85"/>
                    <a:pt x="63" y="85"/>
                    <a:pt x="63" y="85"/>
                  </a:cubicBezTo>
                  <a:cubicBezTo>
                    <a:pt x="72" y="85"/>
                    <a:pt x="81" y="84"/>
                    <a:pt x="90" y="83"/>
                  </a:cubicBezTo>
                  <a:cubicBezTo>
                    <a:pt x="99" y="82"/>
                    <a:pt x="109" y="74"/>
                    <a:pt x="110" y="65"/>
                  </a:cubicBezTo>
                  <a:cubicBezTo>
                    <a:pt x="112" y="51"/>
                    <a:pt x="112" y="36"/>
                    <a:pt x="110" y="2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55" name="Textplatzhalter 1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14245" y="3676675"/>
            <a:ext cx="4380775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Tel:  03-xxxx-xxxx</a:t>
            </a:r>
          </a:p>
        </p:txBody>
      </p:sp>
      <p:sp>
        <p:nvSpPr>
          <p:cNvPr id="56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14245" y="3920801"/>
            <a:ext cx="4380775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Fax: </a:t>
            </a:r>
            <a:r>
              <a:rPr lang="en-US" altLang="ja-JP" noProof="0" dirty="0" smtClean="0"/>
              <a:t>03-xxxx-xxxx</a:t>
            </a:r>
          </a:p>
        </p:txBody>
      </p:sp>
      <p:sp>
        <p:nvSpPr>
          <p:cNvPr id="57" name="Textplatzhalt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14245" y="4164927"/>
            <a:ext cx="4380775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namenamename@ot.olympus.co.jp</a:t>
            </a:r>
          </a:p>
        </p:txBody>
      </p:sp>
      <p:sp>
        <p:nvSpPr>
          <p:cNvPr id="58" name="Textplatzhalter 1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914245" y="4409052"/>
            <a:ext cx="4380775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 altLang="ja-JP" dirty="0" smtClean="0"/>
              <a:t>www.olympus.co.jp</a:t>
            </a:r>
          </a:p>
        </p:txBody>
      </p:sp>
      <p:grpSp>
        <p:nvGrpSpPr>
          <p:cNvPr id="59" name="グループ化 58"/>
          <p:cNvGrpSpPr/>
          <p:nvPr userDrawn="1"/>
        </p:nvGrpSpPr>
        <p:grpSpPr>
          <a:xfrm>
            <a:off x="-100749" y="-82436"/>
            <a:ext cx="12360988" cy="7022872"/>
            <a:chOff x="-100749" y="-82436"/>
            <a:chExt cx="12360988" cy="7022872"/>
          </a:xfrm>
        </p:grpSpPr>
        <p:grpSp>
          <p:nvGrpSpPr>
            <p:cNvPr id="60" name="Gruppieren 31"/>
            <p:cNvGrpSpPr/>
            <p:nvPr userDrawn="1"/>
          </p:nvGrpSpPr>
          <p:grpSpPr bwMode="gray">
            <a:xfrm>
              <a:off x="407368" y="6868436"/>
              <a:ext cx="11377264" cy="72000"/>
              <a:chOff x="407368" y="0"/>
              <a:chExt cx="11377264" cy="108000"/>
            </a:xfrm>
          </p:grpSpPr>
          <p:sp>
            <p:nvSpPr>
              <p:cNvPr id="72" name="Freihandform 32"/>
              <p:cNvSpPr/>
              <p:nvPr userDrawn="1"/>
            </p:nvSpPr>
            <p:spPr bwMode="gray">
              <a:xfrm>
                <a:off x="595198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3" name="Freihandform 33"/>
              <p:cNvSpPr/>
              <p:nvPr userDrawn="1"/>
            </p:nvSpPr>
            <p:spPr bwMode="gray">
              <a:xfrm>
                <a:off x="407368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4" name="Freihandform 34"/>
              <p:cNvSpPr/>
              <p:nvPr userDrawn="1"/>
            </p:nvSpPr>
            <p:spPr bwMode="gray">
              <a:xfrm>
                <a:off x="117846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5" name="Freihandform 35"/>
              <p:cNvSpPr/>
              <p:nvPr userDrawn="1"/>
            </p:nvSpPr>
            <p:spPr bwMode="gray">
              <a:xfrm>
                <a:off x="6240016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61" name="Gruppieren 30"/>
            <p:cNvGrpSpPr/>
            <p:nvPr userDrawn="1"/>
          </p:nvGrpSpPr>
          <p:grpSpPr bwMode="gray">
            <a:xfrm>
              <a:off x="391113" y="-82436"/>
              <a:ext cx="11377264" cy="72000"/>
              <a:chOff x="407368" y="0"/>
              <a:chExt cx="11377264" cy="108000"/>
            </a:xfrm>
          </p:grpSpPr>
          <p:sp>
            <p:nvSpPr>
              <p:cNvPr id="68" name="Freihandform 26"/>
              <p:cNvSpPr/>
              <p:nvPr userDrawn="1"/>
            </p:nvSpPr>
            <p:spPr bwMode="gray">
              <a:xfrm>
                <a:off x="595198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9" name="Freihandform 27"/>
              <p:cNvSpPr/>
              <p:nvPr userDrawn="1"/>
            </p:nvSpPr>
            <p:spPr bwMode="gray">
              <a:xfrm>
                <a:off x="407368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0" name="Freihandform 28"/>
              <p:cNvSpPr/>
              <p:nvPr userDrawn="1"/>
            </p:nvSpPr>
            <p:spPr bwMode="gray">
              <a:xfrm>
                <a:off x="117846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1" name="Freihandform 29"/>
              <p:cNvSpPr/>
              <p:nvPr userDrawn="1"/>
            </p:nvSpPr>
            <p:spPr bwMode="gray">
              <a:xfrm>
                <a:off x="6240016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62" name="グループ化 61"/>
            <p:cNvGrpSpPr/>
            <p:nvPr userDrawn="1"/>
          </p:nvGrpSpPr>
          <p:grpSpPr>
            <a:xfrm>
              <a:off x="-100749" y="1216200"/>
              <a:ext cx="72000" cy="4985108"/>
              <a:chOff x="-84494" y="1216200"/>
              <a:chExt cx="72000" cy="4985108"/>
            </a:xfrm>
          </p:grpSpPr>
          <p:sp>
            <p:nvSpPr>
              <p:cNvPr id="66" name="Freihandform 37"/>
              <p:cNvSpPr/>
              <p:nvPr userDrawn="1"/>
            </p:nvSpPr>
            <p:spPr bwMode="gray">
              <a:xfrm rot="5400000">
                <a:off x="-48494" y="6165308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7" name="Freihandform 38"/>
              <p:cNvSpPr/>
              <p:nvPr userDrawn="1"/>
            </p:nvSpPr>
            <p:spPr bwMode="gray">
              <a:xfrm rot="5400000">
                <a:off x="-48494" y="1180200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63" name="グループ化 62"/>
            <p:cNvGrpSpPr/>
            <p:nvPr userDrawn="1"/>
          </p:nvGrpSpPr>
          <p:grpSpPr>
            <a:xfrm>
              <a:off x="12188239" y="1216200"/>
              <a:ext cx="72000" cy="4985108"/>
              <a:chOff x="12204494" y="1216200"/>
              <a:chExt cx="72000" cy="4985108"/>
            </a:xfrm>
          </p:grpSpPr>
          <p:sp>
            <p:nvSpPr>
              <p:cNvPr id="64" name="Freihandform 42"/>
              <p:cNvSpPr/>
              <p:nvPr userDrawn="1"/>
            </p:nvSpPr>
            <p:spPr bwMode="gray">
              <a:xfrm rot="5400000">
                <a:off x="12240494" y="6165308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5" name="Freihandform 43"/>
              <p:cNvSpPr/>
              <p:nvPr userDrawn="1"/>
            </p:nvSpPr>
            <p:spPr bwMode="gray">
              <a:xfrm rot="5400000">
                <a:off x="12240494" y="1180200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sp>
        <p:nvSpPr>
          <p:cNvPr id="76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11225" y="2362482"/>
            <a:ext cx="4380775" cy="276999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ja-JP" altLang="en-US" noProof="0" dirty="0" smtClean="0"/>
              <a:t>氏名</a:t>
            </a:r>
            <a:endParaRPr lang="en-US" altLang="ja-JP" noProof="0" dirty="0" smtClean="0"/>
          </a:p>
        </p:txBody>
      </p:sp>
      <p:sp>
        <p:nvSpPr>
          <p:cNvPr id="77" name="Textplatzhalter 1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911225" y="2697269"/>
            <a:ext cx="4380775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ja-JP" altLang="en-US" noProof="0" dirty="0" smtClean="0"/>
              <a:t>ポジション</a:t>
            </a:r>
            <a:r>
              <a:rPr lang="en-US" noProof="0" dirty="0" smtClean="0"/>
              <a:t> / </a:t>
            </a:r>
            <a:r>
              <a:rPr lang="ja-JP" altLang="en-US" noProof="0" dirty="0" smtClean="0"/>
              <a:t>部署名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6396363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9340" y="337707"/>
            <a:ext cx="1368000" cy="258509"/>
          </a:xfrm>
          <a:prstGeom prst="rect">
            <a:avLst/>
          </a:prstGeom>
        </p:spPr>
      </p:pic>
      <p:sp>
        <p:nvSpPr>
          <p:cNvPr id="3" name="Freihandform 2"/>
          <p:cNvSpPr/>
          <p:nvPr userDrawn="1"/>
        </p:nvSpPr>
        <p:spPr bwMode="gray">
          <a:xfrm>
            <a:off x="0" y="3278324"/>
            <a:ext cx="12204000" cy="0"/>
          </a:xfrm>
          <a:custGeom>
            <a:avLst/>
            <a:gdLst>
              <a:gd name="connsiteX0" fmla="*/ 0 w 409575"/>
              <a:gd name="connsiteY0" fmla="*/ 0 h 0"/>
              <a:gd name="connsiteX1" fmla="*/ 409575 w 40957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09575">
                <a:moveTo>
                  <a:pt x="0" y="0"/>
                </a:moveTo>
                <a:lnTo>
                  <a:pt x="409575" y="0"/>
                </a:lnTo>
              </a:path>
            </a:pathLst>
          </a:cu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11225" y="2670694"/>
            <a:ext cx="7921079" cy="1218795"/>
          </a:xfrm>
          <a:solidFill>
            <a:schemeClr val="bg1"/>
          </a:solidFill>
        </p:spPr>
        <p:txBody>
          <a:bodyPr wrap="square" lIns="108000" rIns="108000" anchor="ctr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ja-JP" altLang="en-US" dirty="0" smtClean="0"/>
              <a:t>最後のメッセージ最後のメッセージテキスト入力 </a:t>
            </a:r>
            <a:r>
              <a:rPr lang="en-US" altLang="ja-JP" dirty="0" smtClean="0"/>
              <a:t>2</a:t>
            </a:r>
            <a:r>
              <a:rPr lang="ja-JP" altLang="en-US" dirty="0" smtClean="0"/>
              <a:t>行</a:t>
            </a:r>
            <a:endParaRPr lang="en-US" altLang="ja-JP" dirty="0"/>
          </a:p>
        </p:txBody>
      </p:sp>
      <p:grpSp>
        <p:nvGrpSpPr>
          <p:cNvPr id="35" name="グループ化 34"/>
          <p:cNvGrpSpPr/>
          <p:nvPr userDrawn="1"/>
        </p:nvGrpSpPr>
        <p:grpSpPr>
          <a:xfrm>
            <a:off x="-100749" y="-82436"/>
            <a:ext cx="12360988" cy="7022872"/>
            <a:chOff x="-100749" y="-82436"/>
            <a:chExt cx="12360988" cy="7022872"/>
          </a:xfrm>
        </p:grpSpPr>
        <p:grpSp>
          <p:nvGrpSpPr>
            <p:cNvPr id="36" name="Gruppieren 31"/>
            <p:cNvGrpSpPr/>
            <p:nvPr userDrawn="1"/>
          </p:nvGrpSpPr>
          <p:grpSpPr bwMode="gray">
            <a:xfrm>
              <a:off x="407368" y="6868436"/>
              <a:ext cx="11377264" cy="72000"/>
              <a:chOff x="407368" y="0"/>
              <a:chExt cx="11377264" cy="108000"/>
            </a:xfrm>
          </p:grpSpPr>
          <p:sp>
            <p:nvSpPr>
              <p:cNvPr id="48" name="Freihandform 32"/>
              <p:cNvSpPr/>
              <p:nvPr userDrawn="1"/>
            </p:nvSpPr>
            <p:spPr bwMode="gray">
              <a:xfrm>
                <a:off x="595198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9" name="Freihandform 33"/>
              <p:cNvSpPr/>
              <p:nvPr userDrawn="1"/>
            </p:nvSpPr>
            <p:spPr bwMode="gray">
              <a:xfrm>
                <a:off x="407368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0" name="Freihandform 34"/>
              <p:cNvSpPr/>
              <p:nvPr userDrawn="1"/>
            </p:nvSpPr>
            <p:spPr bwMode="gray">
              <a:xfrm>
                <a:off x="117846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1" name="Freihandform 35"/>
              <p:cNvSpPr/>
              <p:nvPr userDrawn="1"/>
            </p:nvSpPr>
            <p:spPr bwMode="gray">
              <a:xfrm>
                <a:off x="6240016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37" name="Gruppieren 30"/>
            <p:cNvGrpSpPr/>
            <p:nvPr userDrawn="1"/>
          </p:nvGrpSpPr>
          <p:grpSpPr bwMode="gray">
            <a:xfrm>
              <a:off x="391113" y="-82436"/>
              <a:ext cx="11377264" cy="72000"/>
              <a:chOff x="407368" y="0"/>
              <a:chExt cx="11377264" cy="108000"/>
            </a:xfrm>
          </p:grpSpPr>
          <p:sp>
            <p:nvSpPr>
              <p:cNvPr id="44" name="Freihandform 26"/>
              <p:cNvSpPr/>
              <p:nvPr userDrawn="1"/>
            </p:nvSpPr>
            <p:spPr bwMode="gray">
              <a:xfrm>
                <a:off x="595198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5" name="Freihandform 27"/>
              <p:cNvSpPr/>
              <p:nvPr userDrawn="1"/>
            </p:nvSpPr>
            <p:spPr bwMode="gray">
              <a:xfrm>
                <a:off x="407368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6" name="Freihandform 28"/>
              <p:cNvSpPr/>
              <p:nvPr userDrawn="1"/>
            </p:nvSpPr>
            <p:spPr bwMode="gray">
              <a:xfrm>
                <a:off x="117846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7" name="Freihandform 29"/>
              <p:cNvSpPr/>
              <p:nvPr userDrawn="1"/>
            </p:nvSpPr>
            <p:spPr bwMode="gray">
              <a:xfrm>
                <a:off x="6240016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38" name="グループ化 37"/>
            <p:cNvGrpSpPr/>
            <p:nvPr userDrawn="1"/>
          </p:nvGrpSpPr>
          <p:grpSpPr>
            <a:xfrm>
              <a:off x="-100749" y="1216200"/>
              <a:ext cx="72000" cy="4985108"/>
              <a:chOff x="-84494" y="1216200"/>
              <a:chExt cx="72000" cy="4985108"/>
            </a:xfrm>
          </p:grpSpPr>
          <p:sp>
            <p:nvSpPr>
              <p:cNvPr id="42" name="Freihandform 37"/>
              <p:cNvSpPr/>
              <p:nvPr userDrawn="1"/>
            </p:nvSpPr>
            <p:spPr bwMode="gray">
              <a:xfrm rot="5400000">
                <a:off x="-48494" y="6165308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3" name="Freihandform 38"/>
              <p:cNvSpPr/>
              <p:nvPr userDrawn="1"/>
            </p:nvSpPr>
            <p:spPr bwMode="gray">
              <a:xfrm rot="5400000">
                <a:off x="-48494" y="1180200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39" name="グループ化 38"/>
            <p:cNvGrpSpPr/>
            <p:nvPr userDrawn="1"/>
          </p:nvGrpSpPr>
          <p:grpSpPr>
            <a:xfrm>
              <a:off x="12188239" y="1216200"/>
              <a:ext cx="72000" cy="4985108"/>
              <a:chOff x="12204494" y="1216200"/>
              <a:chExt cx="72000" cy="4985108"/>
            </a:xfrm>
          </p:grpSpPr>
          <p:sp>
            <p:nvSpPr>
              <p:cNvPr id="40" name="Freihandform 42"/>
              <p:cNvSpPr/>
              <p:nvPr userDrawn="1"/>
            </p:nvSpPr>
            <p:spPr bwMode="gray">
              <a:xfrm rot="5400000">
                <a:off x="12240494" y="6165308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1" name="Freihandform 43"/>
              <p:cNvSpPr/>
              <p:nvPr userDrawn="1"/>
            </p:nvSpPr>
            <p:spPr bwMode="gray">
              <a:xfrm rot="5400000">
                <a:off x="12240494" y="1180200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828686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re Valu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16632" y="332656"/>
            <a:ext cx="1368000" cy="258509"/>
          </a:xfrm>
          <a:prstGeom prst="rect">
            <a:avLst/>
          </a:prstGeom>
        </p:spPr>
      </p:pic>
      <p:grpSp>
        <p:nvGrpSpPr>
          <p:cNvPr id="35" name="グループ化 34"/>
          <p:cNvGrpSpPr/>
          <p:nvPr userDrawn="1"/>
        </p:nvGrpSpPr>
        <p:grpSpPr>
          <a:xfrm>
            <a:off x="-100749" y="-82436"/>
            <a:ext cx="12360988" cy="7022872"/>
            <a:chOff x="-100749" y="-82436"/>
            <a:chExt cx="12360988" cy="7022872"/>
          </a:xfrm>
        </p:grpSpPr>
        <p:grpSp>
          <p:nvGrpSpPr>
            <p:cNvPr id="37" name="Gruppieren 31"/>
            <p:cNvGrpSpPr/>
            <p:nvPr userDrawn="1"/>
          </p:nvGrpSpPr>
          <p:grpSpPr bwMode="gray">
            <a:xfrm>
              <a:off x="407368" y="6868436"/>
              <a:ext cx="11377264" cy="72000"/>
              <a:chOff x="407368" y="0"/>
              <a:chExt cx="11377264" cy="108000"/>
            </a:xfrm>
          </p:grpSpPr>
          <p:sp>
            <p:nvSpPr>
              <p:cNvPr id="49" name="Freihandform 32"/>
              <p:cNvSpPr/>
              <p:nvPr userDrawn="1"/>
            </p:nvSpPr>
            <p:spPr bwMode="gray">
              <a:xfrm>
                <a:off x="595198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0" name="Freihandform 33"/>
              <p:cNvSpPr/>
              <p:nvPr userDrawn="1"/>
            </p:nvSpPr>
            <p:spPr bwMode="gray">
              <a:xfrm>
                <a:off x="407368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1" name="Freihandform 34"/>
              <p:cNvSpPr/>
              <p:nvPr userDrawn="1"/>
            </p:nvSpPr>
            <p:spPr bwMode="gray">
              <a:xfrm>
                <a:off x="117846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2" name="Freihandform 35"/>
              <p:cNvSpPr/>
              <p:nvPr userDrawn="1"/>
            </p:nvSpPr>
            <p:spPr bwMode="gray">
              <a:xfrm>
                <a:off x="6240016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38" name="Gruppieren 30"/>
            <p:cNvGrpSpPr/>
            <p:nvPr userDrawn="1"/>
          </p:nvGrpSpPr>
          <p:grpSpPr bwMode="gray">
            <a:xfrm>
              <a:off x="391113" y="-82436"/>
              <a:ext cx="11377264" cy="72000"/>
              <a:chOff x="407368" y="0"/>
              <a:chExt cx="11377264" cy="108000"/>
            </a:xfrm>
          </p:grpSpPr>
          <p:sp>
            <p:nvSpPr>
              <p:cNvPr id="45" name="Freihandform 26"/>
              <p:cNvSpPr/>
              <p:nvPr userDrawn="1"/>
            </p:nvSpPr>
            <p:spPr bwMode="gray">
              <a:xfrm>
                <a:off x="595198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6" name="Freihandform 27"/>
              <p:cNvSpPr/>
              <p:nvPr userDrawn="1"/>
            </p:nvSpPr>
            <p:spPr bwMode="gray">
              <a:xfrm>
                <a:off x="407368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7" name="Freihandform 28"/>
              <p:cNvSpPr/>
              <p:nvPr userDrawn="1"/>
            </p:nvSpPr>
            <p:spPr bwMode="gray">
              <a:xfrm>
                <a:off x="117846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8" name="Freihandform 29"/>
              <p:cNvSpPr/>
              <p:nvPr userDrawn="1"/>
            </p:nvSpPr>
            <p:spPr bwMode="gray">
              <a:xfrm>
                <a:off x="6240016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39" name="グループ化 38"/>
            <p:cNvGrpSpPr/>
            <p:nvPr userDrawn="1"/>
          </p:nvGrpSpPr>
          <p:grpSpPr>
            <a:xfrm>
              <a:off x="-100749" y="1216200"/>
              <a:ext cx="72000" cy="4985108"/>
              <a:chOff x="-84494" y="1216200"/>
              <a:chExt cx="72000" cy="4985108"/>
            </a:xfrm>
          </p:grpSpPr>
          <p:sp>
            <p:nvSpPr>
              <p:cNvPr id="43" name="Freihandform 37"/>
              <p:cNvSpPr/>
              <p:nvPr userDrawn="1"/>
            </p:nvSpPr>
            <p:spPr bwMode="gray">
              <a:xfrm rot="5400000">
                <a:off x="-48494" y="6165308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4" name="Freihandform 38"/>
              <p:cNvSpPr/>
              <p:nvPr userDrawn="1"/>
            </p:nvSpPr>
            <p:spPr bwMode="gray">
              <a:xfrm rot="5400000">
                <a:off x="-48494" y="1180200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40" name="グループ化 39"/>
            <p:cNvGrpSpPr/>
            <p:nvPr userDrawn="1"/>
          </p:nvGrpSpPr>
          <p:grpSpPr>
            <a:xfrm>
              <a:off x="12188239" y="1216200"/>
              <a:ext cx="72000" cy="4985108"/>
              <a:chOff x="12204494" y="1216200"/>
              <a:chExt cx="72000" cy="4985108"/>
            </a:xfrm>
          </p:grpSpPr>
          <p:sp>
            <p:nvSpPr>
              <p:cNvPr id="41" name="Freihandform 42"/>
              <p:cNvSpPr/>
              <p:nvPr userDrawn="1"/>
            </p:nvSpPr>
            <p:spPr bwMode="gray">
              <a:xfrm rot="5400000">
                <a:off x="12240494" y="6165308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2" name="Freihandform 43"/>
              <p:cNvSpPr/>
              <p:nvPr userDrawn="1"/>
            </p:nvSpPr>
            <p:spPr bwMode="gray">
              <a:xfrm rot="5400000">
                <a:off x="12240494" y="1180200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pic>
        <p:nvPicPr>
          <p:cNvPr id="21" name="Picture 7">
            <a:extLst>
              <a:ext uri="{FF2B5EF4-FFF2-40B4-BE49-F238E27FC236}">
                <a16:creationId xmlns:a16="http://schemas.microsoft.com/office/drawing/2014/main" id="{A7CC793B-5AB5-AB4B-80D2-E5691C3B95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61418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78141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re Valu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9340" y="337707"/>
            <a:ext cx="1368000" cy="258509"/>
          </a:xfrm>
          <a:prstGeom prst="rect">
            <a:avLst/>
          </a:prstGeom>
        </p:spPr>
      </p:pic>
      <p:grpSp>
        <p:nvGrpSpPr>
          <p:cNvPr id="35" name="グループ化 34"/>
          <p:cNvGrpSpPr/>
          <p:nvPr userDrawn="1"/>
        </p:nvGrpSpPr>
        <p:grpSpPr>
          <a:xfrm>
            <a:off x="-100749" y="-82436"/>
            <a:ext cx="12360988" cy="7022872"/>
            <a:chOff x="-100749" y="-82436"/>
            <a:chExt cx="12360988" cy="7022872"/>
          </a:xfrm>
        </p:grpSpPr>
        <p:grpSp>
          <p:nvGrpSpPr>
            <p:cNvPr id="37" name="Gruppieren 31"/>
            <p:cNvGrpSpPr/>
            <p:nvPr userDrawn="1"/>
          </p:nvGrpSpPr>
          <p:grpSpPr bwMode="gray">
            <a:xfrm>
              <a:off x="407368" y="6868436"/>
              <a:ext cx="11377264" cy="72000"/>
              <a:chOff x="407368" y="0"/>
              <a:chExt cx="11377264" cy="108000"/>
            </a:xfrm>
          </p:grpSpPr>
          <p:sp>
            <p:nvSpPr>
              <p:cNvPr id="49" name="Freihandform 32"/>
              <p:cNvSpPr/>
              <p:nvPr userDrawn="1"/>
            </p:nvSpPr>
            <p:spPr bwMode="gray">
              <a:xfrm>
                <a:off x="595198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0" name="Freihandform 33"/>
              <p:cNvSpPr/>
              <p:nvPr userDrawn="1"/>
            </p:nvSpPr>
            <p:spPr bwMode="gray">
              <a:xfrm>
                <a:off x="407368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1" name="Freihandform 34"/>
              <p:cNvSpPr/>
              <p:nvPr userDrawn="1"/>
            </p:nvSpPr>
            <p:spPr bwMode="gray">
              <a:xfrm>
                <a:off x="117846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2" name="Freihandform 35"/>
              <p:cNvSpPr/>
              <p:nvPr userDrawn="1"/>
            </p:nvSpPr>
            <p:spPr bwMode="gray">
              <a:xfrm>
                <a:off x="6240016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38" name="Gruppieren 30"/>
            <p:cNvGrpSpPr/>
            <p:nvPr userDrawn="1"/>
          </p:nvGrpSpPr>
          <p:grpSpPr bwMode="gray">
            <a:xfrm>
              <a:off x="391113" y="-82436"/>
              <a:ext cx="11377264" cy="72000"/>
              <a:chOff x="407368" y="0"/>
              <a:chExt cx="11377264" cy="108000"/>
            </a:xfrm>
          </p:grpSpPr>
          <p:sp>
            <p:nvSpPr>
              <p:cNvPr id="45" name="Freihandform 26"/>
              <p:cNvSpPr/>
              <p:nvPr userDrawn="1"/>
            </p:nvSpPr>
            <p:spPr bwMode="gray">
              <a:xfrm>
                <a:off x="595198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6" name="Freihandform 27"/>
              <p:cNvSpPr/>
              <p:nvPr userDrawn="1"/>
            </p:nvSpPr>
            <p:spPr bwMode="gray">
              <a:xfrm>
                <a:off x="407368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7" name="Freihandform 28"/>
              <p:cNvSpPr/>
              <p:nvPr userDrawn="1"/>
            </p:nvSpPr>
            <p:spPr bwMode="gray">
              <a:xfrm>
                <a:off x="117846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8" name="Freihandform 29"/>
              <p:cNvSpPr/>
              <p:nvPr userDrawn="1"/>
            </p:nvSpPr>
            <p:spPr bwMode="gray">
              <a:xfrm>
                <a:off x="6240016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39" name="グループ化 38"/>
            <p:cNvGrpSpPr/>
            <p:nvPr userDrawn="1"/>
          </p:nvGrpSpPr>
          <p:grpSpPr>
            <a:xfrm>
              <a:off x="-100749" y="1216200"/>
              <a:ext cx="72000" cy="4985108"/>
              <a:chOff x="-84494" y="1216200"/>
              <a:chExt cx="72000" cy="4985108"/>
            </a:xfrm>
          </p:grpSpPr>
          <p:sp>
            <p:nvSpPr>
              <p:cNvPr id="43" name="Freihandform 37"/>
              <p:cNvSpPr/>
              <p:nvPr userDrawn="1"/>
            </p:nvSpPr>
            <p:spPr bwMode="gray">
              <a:xfrm rot="5400000">
                <a:off x="-48494" y="6165308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4" name="Freihandform 38"/>
              <p:cNvSpPr/>
              <p:nvPr userDrawn="1"/>
            </p:nvSpPr>
            <p:spPr bwMode="gray">
              <a:xfrm rot="5400000">
                <a:off x="-48494" y="1180200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40" name="グループ化 39"/>
            <p:cNvGrpSpPr/>
            <p:nvPr userDrawn="1"/>
          </p:nvGrpSpPr>
          <p:grpSpPr>
            <a:xfrm>
              <a:off x="12188239" y="1216200"/>
              <a:ext cx="72000" cy="4985108"/>
              <a:chOff x="12204494" y="1216200"/>
              <a:chExt cx="72000" cy="4985108"/>
            </a:xfrm>
          </p:grpSpPr>
          <p:sp>
            <p:nvSpPr>
              <p:cNvPr id="41" name="Freihandform 42"/>
              <p:cNvSpPr/>
              <p:nvPr userDrawn="1"/>
            </p:nvSpPr>
            <p:spPr bwMode="gray">
              <a:xfrm rot="5400000">
                <a:off x="12240494" y="6165308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2" name="Freihandform 43"/>
              <p:cNvSpPr/>
              <p:nvPr userDrawn="1"/>
            </p:nvSpPr>
            <p:spPr bwMode="gray">
              <a:xfrm rot="5400000">
                <a:off x="12240494" y="1180200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4457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re Valu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9340" y="337707"/>
            <a:ext cx="1368000" cy="258509"/>
          </a:xfrm>
          <a:prstGeom prst="rect">
            <a:avLst/>
          </a:prstGeom>
        </p:spPr>
      </p:pic>
      <p:grpSp>
        <p:nvGrpSpPr>
          <p:cNvPr id="35" name="グループ化 34"/>
          <p:cNvGrpSpPr/>
          <p:nvPr userDrawn="1"/>
        </p:nvGrpSpPr>
        <p:grpSpPr>
          <a:xfrm>
            <a:off x="-100749" y="-82436"/>
            <a:ext cx="12360988" cy="7022872"/>
            <a:chOff x="-100749" y="-82436"/>
            <a:chExt cx="12360988" cy="7022872"/>
          </a:xfrm>
        </p:grpSpPr>
        <p:grpSp>
          <p:nvGrpSpPr>
            <p:cNvPr id="37" name="Gruppieren 31"/>
            <p:cNvGrpSpPr/>
            <p:nvPr userDrawn="1"/>
          </p:nvGrpSpPr>
          <p:grpSpPr bwMode="gray">
            <a:xfrm>
              <a:off x="407368" y="6868436"/>
              <a:ext cx="11377264" cy="72000"/>
              <a:chOff x="407368" y="0"/>
              <a:chExt cx="11377264" cy="108000"/>
            </a:xfrm>
          </p:grpSpPr>
          <p:sp>
            <p:nvSpPr>
              <p:cNvPr id="49" name="Freihandform 32"/>
              <p:cNvSpPr/>
              <p:nvPr userDrawn="1"/>
            </p:nvSpPr>
            <p:spPr bwMode="gray">
              <a:xfrm>
                <a:off x="595198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0" name="Freihandform 33"/>
              <p:cNvSpPr/>
              <p:nvPr userDrawn="1"/>
            </p:nvSpPr>
            <p:spPr bwMode="gray">
              <a:xfrm>
                <a:off x="407368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1" name="Freihandform 34"/>
              <p:cNvSpPr/>
              <p:nvPr userDrawn="1"/>
            </p:nvSpPr>
            <p:spPr bwMode="gray">
              <a:xfrm>
                <a:off x="117846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2" name="Freihandform 35"/>
              <p:cNvSpPr/>
              <p:nvPr userDrawn="1"/>
            </p:nvSpPr>
            <p:spPr bwMode="gray">
              <a:xfrm>
                <a:off x="6240016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38" name="Gruppieren 30"/>
            <p:cNvGrpSpPr/>
            <p:nvPr userDrawn="1"/>
          </p:nvGrpSpPr>
          <p:grpSpPr bwMode="gray">
            <a:xfrm>
              <a:off x="391113" y="-82436"/>
              <a:ext cx="11377264" cy="72000"/>
              <a:chOff x="407368" y="0"/>
              <a:chExt cx="11377264" cy="108000"/>
            </a:xfrm>
          </p:grpSpPr>
          <p:sp>
            <p:nvSpPr>
              <p:cNvPr id="45" name="Freihandform 26"/>
              <p:cNvSpPr/>
              <p:nvPr userDrawn="1"/>
            </p:nvSpPr>
            <p:spPr bwMode="gray">
              <a:xfrm>
                <a:off x="595198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6" name="Freihandform 27"/>
              <p:cNvSpPr/>
              <p:nvPr userDrawn="1"/>
            </p:nvSpPr>
            <p:spPr bwMode="gray">
              <a:xfrm>
                <a:off x="407368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7" name="Freihandform 28"/>
              <p:cNvSpPr/>
              <p:nvPr userDrawn="1"/>
            </p:nvSpPr>
            <p:spPr bwMode="gray">
              <a:xfrm>
                <a:off x="117846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8" name="Freihandform 29"/>
              <p:cNvSpPr/>
              <p:nvPr userDrawn="1"/>
            </p:nvSpPr>
            <p:spPr bwMode="gray">
              <a:xfrm>
                <a:off x="6240016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39" name="グループ化 38"/>
            <p:cNvGrpSpPr/>
            <p:nvPr userDrawn="1"/>
          </p:nvGrpSpPr>
          <p:grpSpPr>
            <a:xfrm>
              <a:off x="-100749" y="1216200"/>
              <a:ext cx="72000" cy="4985108"/>
              <a:chOff x="-84494" y="1216200"/>
              <a:chExt cx="72000" cy="4985108"/>
            </a:xfrm>
          </p:grpSpPr>
          <p:sp>
            <p:nvSpPr>
              <p:cNvPr id="43" name="Freihandform 37"/>
              <p:cNvSpPr/>
              <p:nvPr userDrawn="1"/>
            </p:nvSpPr>
            <p:spPr bwMode="gray">
              <a:xfrm rot="5400000">
                <a:off x="-48494" y="6165308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4" name="Freihandform 38"/>
              <p:cNvSpPr/>
              <p:nvPr userDrawn="1"/>
            </p:nvSpPr>
            <p:spPr bwMode="gray">
              <a:xfrm rot="5400000">
                <a:off x="-48494" y="1180200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40" name="グループ化 39"/>
            <p:cNvGrpSpPr/>
            <p:nvPr userDrawn="1"/>
          </p:nvGrpSpPr>
          <p:grpSpPr>
            <a:xfrm>
              <a:off x="12188239" y="1216200"/>
              <a:ext cx="72000" cy="4985108"/>
              <a:chOff x="12204494" y="1216200"/>
              <a:chExt cx="72000" cy="4985108"/>
            </a:xfrm>
          </p:grpSpPr>
          <p:sp>
            <p:nvSpPr>
              <p:cNvPr id="41" name="Freihandform 42"/>
              <p:cNvSpPr/>
              <p:nvPr userDrawn="1"/>
            </p:nvSpPr>
            <p:spPr bwMode="gray">
              <a:xfrm rot="5400000">
                <a:off x="12240494" y="6165308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2" name="Freihandform 43"/>
              <p:cNvSpPr/>
              <p:nvPr userDrawn="1"/>
            </p:nvSpPr>
            <p:spPr bwMode="gray">
              <a:xfrm rot="5400000">
                <a:off x="12240494" y="1180200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pic>
        <p:nvPicPr>
          <p:cNvPr id="21" name="Picture 6">
            <a:extLst>
              <a:ext uri="{FF2B5EF4-FFF2-40B4-BE49-F238E27FC236}">
                <a16:creationId xmlns:a16="http://schemas.microsoft.com/office/drawing/2014/main" id="{5DFC91DD-9FAA-F94F-90D3-6B1A70BD6D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98824" y="0"/>
            <a:ext cx="959317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4840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449232" y="2987327"/>
            <a:ext cx="3291417" cy="62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7258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9340" y="337707"/>
            <a:ext cx="1368000" cy="258509"/>
          </a:xfrm>
          <a:prstGeom prst="rect">
            <a:avLst/>
          </a:prstGeom>
        </p:spPr>
      </p:pic>
      <p:grpSp>
        <p:nvGrpSpPr>
          <p:cNvPr id="25" name="グループ化 24"/>
          <p:cNvGrpSpPr/>
          <p:nvPr userDrawn="1"/>
        </p:nvGrpSpPr>
        <p:grpSpPr>
          <a:xfrm>
            <a:off x="-100749" y="-82436"/>
            <a:ext cx="12360988" cy="7022872"/>
            <a:chOff x="-100749" y="-82436"/>
            <a:chExt cx="12360988" cy="7022872"/>
          </a:xfrm>
        </p:grpSpPr>
        <p:grpSp>
          <p:nvGrpSpPr>
            <p:cNvPr id="26" name="Gruppieren 31"/>
            <p:cNvGrpSpPr/>
            <p:nvPr userDrawn="1"/>
          </p:nvGrpSpPr>
          <p:grpSpPr bwMode="gray">
            <a:xfrm>
              <a:off x="407368" y="6868436"/>
              <a:ext cx="11377264" cy="72000"/>
              <a:chOff x="407368" y="0"/>
              <a:chExt cx="11377264" cy="108000"/>
            </a:xfrm>
          </p:grpSpPr>
          <p:sp>
            <p:nvSpPr>
              <p:cNvPr id="38" name="Freihandform 32"/>
              <p:cNvSpPr/>
              <p:nvPr userDrawn="1"/>
            </p:nvSpPr>
            <p:spPr bwMode="gray">
              <a:xfrm>
                <a:off x="595198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9" name="Freihandform 33"/>
              <p:cNvSpPr/>
              <p:nvPr userDrawn="1"/>
            </p:nvSpPr>
            <p:spPr bwMode="gray">
              <a:xfrm>
                <a:off x="407368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0" name="Freihandform 34"/>
              <p:cNvSpPr/>
              <p:nvPr userDrawn="1"/>
            </p:nvSpPr>
            <p:spPr bwMode="gray">
              <a:xfrm>
                <a:off x="117846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1" name="Freihandform 35"/>
              <p:cNvSpPr/>
              <p:nvPr userDrawn="1"/>
            </p:nvSpPr>
            <p:spPr bwMode="gray">
              <a:xfrm>
                <a:off x="6240016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7" name="Gruppieren 30"/>
            <p:cNvGrpSpPr/>
            <p:nvPr userDrawn="1"/>
          </p:nvGrpSpPr>
          <p:grpSpPr bwMode="gray">
            <a:xfrm>
              <a:off x="391113" y="-82436"/>
              <a:ext cx="11377264" cy="72000"/>
              <a:chOff x="407368" y="0"/>
              <a:chExt cx="11377264" cy="108000"/>
            </a:xfrm>
          </p:grpSpPr>
          <p:sp>
            <p:nvSpPr>
              <p:cNvPr id="34" name="Freihandform 26"/>
              <p:cNvSpPr/>
              <p:nvPr userDrawn="1"/>
            </p:nvSpPr>
            <p:spPr bwMode="gray">
              <a:xfrm>
                <a:off x="595198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5" name="Freihandform 27"/>
              <p:cNvSpPr/>
              <p:nvPr userDrawn="1"/>
            </p:nvSpPr>
            <p:spPr bwMode="gray">
              <a:xfrm>
                <a:off x="407368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6" name="Freihandform 28"/>
              <p:cNvSpPr/>
              <p:nvPr userDrawn="1"/>
            </p:nvSpPr>
            <p:spPr bwMode="gray">
              <a:xfrm>
                <a:off x="117846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7" name="Freihandform 29"/>
              <p:cNvSpPr/>
              <p:nvPr userDrawn="1"/>
            </p:nvSpPr>
            <p:spPr bwMode="gray">
              <a:xfrm>
                <a:off x="6240016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8" name="グループ化 27"/>
            <p:cNvGrpSpPr/>
            <p:nvPr userDrawn="1"/>
          </p:nvGrpSpPr>
          <p:grpSpPr>
            <a:xfrm>
              <a:off x="-100749" y="1216200"/>
              <a:ext cx="72000" cy="4985108"/>
              <a:chOff x="-84494" y="1216200"/>
              <a:chExt cx="72000" cy="4985108"/>
            </a:xfrm>
          </p:grpSpPr>
          <p:sp>
            <p:nvSpPr>
              <p:cNvPr id="32" name="Freihandform 37"/>
              <p:cNvSpPr/>
              <p:nvPr userDrawn="1"/>
            </p:nvSpPr>
            <p:spPr bwMode="gray">
              <a:xfrm rot="5400000">
                <a:off x="-48494" y="6165308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3" name="Freihandform 38"/>
              <p:cNvSpPr/>
              <p:nvPr userDrawn="1"/>
            </p:nvSpPr>
            <p:spPr bwMode="gray">
              <a:xfrm rot="5400000">
                <a:off x="-48494" y="1180200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9" name="グループ化 28"/>
            <p:cNvGrpSpPr/>
            <p:nvPr userDrawn="1"/>
          </p:nvGrpSpPr>
          <p:grpSpPr>
            <a:xfrm>
              <a:off x="12188239" y="1216200"/>
              <a:ext cx="72000" cy="4985108"/>
              <a:chOff x="12204494" y="1216200"/>
              <a:chExt cx="72000" cy="4985108"/>
            </a:xfrm>
          </p:grpSpPr>
          <p:sp>
            <p:nvSpPr>
              <p:cNvPr id="30" name="Freihandform 42"/>
              <p:cNvSpPr/>
              <p:nvPr userDrawn="1"/>
            </p:nvSpPr>
            <p:spPr bwMode="gray">
              <a:xfrm rot="5400000">
                <a:off x="12240494" y="6165308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1" name="Freihandform 43"/>
              <p:cNvSpPr/>
              <p:nvPr userDrawn="1"/>
            </p:nvSpPr>
            <p:spPr bwMode="gray">
              <a:xfrm rot="5400000">
                <a:off x="12240494" y="1180200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32173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9340" y="337707"/>
            <a:ext cx="1368000" cy="258509"/>
          </a:xfrm>
          <a:prstGeom prst="rect">
            <a:avLst/>
          </a:prstGeom>
        </p:spPr>
      </p:pic>
      <p:sp>
        <p:nvSpPr>
          <p:cNvPr id="3" name="Freihandform 2"/>
          <p:cNvSpPr/>
          <p:nvPr userDrawn="1"/>
        </p:nvSpPr>
        <p:spPr bwMode="gray">
          <a:xfrm>
            <a:off x="0" y="3923531"/>
            <a:ext cx="2268000" cy="0"/>
          </a:xfrm>
          <a:custGeom>
            <a:avLst/>
            <a:gdLst>
              <a:gd name="connsiteX0" fmla="*/ 0 w 409575"/>
              <a:gd name="connsiteY0" fmla="*/ 0 h 0"/>
              <a:gd name="connsiteX1" fmla="*/ 409575 w 40957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09575">
                <a:moveTo>
                  <a:pt x="0" y="0"/>
                </a:moveTo>
                <a:lnTo>
                  <a:pt x="409575" y="0"/>
                </a:lnTo>
              </a:path>
            </a:pathLst>
          </a:cu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4" name="Textplatzhalter 1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0" y="2271353"/>
            <a:ext cx="2268000" cy="1769715"/>
          </a:xfrm>
        </p:spPr>
        <p:txBody>
          <a:bodyPr wrap="square">
            <a:spAutoFit/>
          </a:bodyPr>
          <a:lstStyle>
            <a:lvl1pPr marL="0" indent="0" algn="r">
              <a:spcBef>
                <a:spcPts val="0"/>
              </a:spcBef>
              <a:buNone/>
              <a:defRPr sz="115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dirty="0" smtClean="0"/>
              <a:t>XX</a:t>
            </a:r>
          </a:p>
        </p:txBody>
      </p:sp>
      <p:sp>
        <p:nvSpPr>
          <p:cNvPr id="5" name="Textplatzhalter 17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639616" y="3137160"/>
            <a:ext cx="9144397" cy="677108"/>
          </a:xfrm>
        </p:spPr>
        <p:txBody>
          <a:bodyPr wrap="square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 sz="4400" b="1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ja-JP" altLang="en-US" noProof="0" dirty="0" smtClean="0"/>
              <a:t>チャプタータイトルチャプタータイトル</a:t>
            </a:r>
            <a:endParaRPr lang="en-US" altLang="ja-JP" noProof="0" dirty="0" smtClean="0"/>
          </a:p>
        </p:txBody>
      </p:sp>
      <p:grpSp>
        <p:nvGrpSpPr>
          <p:cNvPr id="25" name="グループ化 24"/>
          <p:cNvGrpSpPr/>
          <p:nvPr userDrawn="1"/>
        </p:nvGrpSpPr>
        <p:grpSpPr>
          <a:xfrm>
            <a:off x="-100749" y="-82436"/>
            <a:ext cx="12360988" cy="7022872"/>
            <a:chOff x="-100749" y="-82436"/>
            <a:chExt cx="12360988" cy="7022872"/>
          </a:xfrm>
        </p:grpSpPr>
        <p:grpSp>
          <p:nvGrpSpPr>
            <p:cNvPr id="26" name="Gruppieren 31"/>
            <p:cNvGrpSpPr/>
            <p:nvPr userDrawn="1"/>
          </p:nvGrpSpPr>
          <p:grpSpPr bwMode="gray">
            <a:xfrm>
              <a:off x="407368" y="6868436"/>
              <a:ext cx="11377264" cy="72000"/>
              <a:chOff x="407368" y="0"/>
              <a:chExt cx="11377264" cy="108000"/>
            </a:xfrm>
          </p:grpSpPr>
          <p:sp>
            <p:nvSpPr>
              <p:cNvPr id="38" name="Freihandform 32"/>
              <p:cNvSpPr/>
              <p:nvPr userDrawn="1"/>
            </p:nvSpPr>
            <p:spPr bwMode="gray">
              <a:xfrm>
                <a:off x="595198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9" name="Freihandform 33"/>
              <p:cNvSpPr/>
              <p:nvPr userDrawn="1"/>
            </p:nvSpPr>
            <p:spPr bwMode="gray">
              <a:xfrm>
                <a:off x="407368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0" name="Freihandform 34"/>
              <p:cNvSpPr/>
              <p:nvPr userDrawn="1"/>
            </p:nvSpPr>
            <p:spPr bwMode="gray">
              <a:xfrm>
                <a:off x="117846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1" name="Freihandform 35"/>
              <p:cNvSpPr/>
              <p:nvPr userDrawn="1"/>
            </p:nvSpPr>
            <p:spPr bwMode="gray">
              <a:xfrm>
                <a:off x="6240016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7" name="Gruppieren 30"/>
            <p:cNvGrpSpPr/>
            <p:nvPr userDrawn="1"/>
          </p:nvGrpSpPr>
          <p:grpSpPr bwMode="gray">
            <a:xfrm>
              <a:off x="391113" y="-82436"/>
              <a:ext cx="11377264" cy="72000"/>
              <a:chOff x="407368" y="0"/>
              <a:chExt cx="11377264" cy="108000"/>
            </a:xfrm>
          </p:grpSpPr>
          <p:sp>
            <p:nvSpPr>
              <p:cNvPr id="34" name="Freihandform 26"/>
              <p:cNvSpPr/>
              <p:nvPr userDrawn="1"/>
            </p:nvSpPr>
            <p:spPr bwMode="gray">
              <a:xfrm>
                <a:off x="595198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5" name="Freihandform 27"/>
              <p:cNvSpPr/>
              <p:nvPr userDrawn="1"/>
            </p:nvSpPr>
            <p:spPr bwMode="gray">
              <a:xfrm>
                <a:off x="407368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6" name="Freihandform 28"/>
              <p:cNvSpPr/>
              <p:nvPr userDrawn="1"/>
            </p:nvSpPr>
            <p:spPr bwMode="gray">
              <a:xfrm>
                <a:off x="117846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7" name="Freihandform 29"/>
              <p:cNvSpPr/>
              <p:nvPr userDrawn="1"/>
            </p:nvSpPr>
            <p:spPr bwMode="gray">
              <a:xfrm>
                <a:off x="6240016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8" name="グループ化 27"/>
            <p:cNvGrpSpPr/>
            <p:nvPr userDrawn="1"/>
          </p:nvGrpSpPr>
          <p:grpSpPr>
            <a:xfrm>
              <a:off x="-100749" y="1216200"/>
              <a:ext cx="72000" cy="4985108"/>
              <a:chOff x="-84494" y="1216200"/>
              <a:chExt cx="72000" cy="4985108"/>
            </a:xfrm>
          </p:grpSpPr>
          <p:sp>
            <p:nvSpPr>
              <p:cNvPr id="32" name="Freihandform 37"/>
              <p:cNvSpPr/>
              <p:nvPr userDrawn="1"/>
            </p:nvSpPr>
            <p:spPr bwMode="gray">
              <a:xfrm rot="5400000">
                <a:off x="-48494" y="6165308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3" name="Freihandform 38"/>
              <p:cNvSpPr/>
              <p:nvPr userDrawn="1"/>
            </p:nvSpPr>
            <p:spPr bwMode="gray">
              <a:xfrm rot="5400000">
                <a:off x="-48494" y="1180200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9" name="グループ化 28"/>
            <p:cNvGrpSpPr/>
            <p:nvPr userDrawn="1"/>
          </p:nvGrpSpPr>
          <p:grpSpPr>
            <a:xfrm>
              <a:off x="12188239" y="1216200"/>
              <a:ext cx="72000" cy="4985108"/>
              <a:chOff x="12204494" y="1216200"/>
              <a:chExt cx="72000" cy="4985108"/>
            </a:xfrm>
          </p:grpSpPr>
          <p:sp>
            <p:nvSpPr>
              <p:cNvPr id="30" name="Freihandform 42"/>
              <p:cNvSpPr/>
              <p:nvPr userDrawn="1"/>
            </p:nvSpPr>
            <p:spPr bwMode="gray">
              <a:xfrm rot="5400000">
                <a:off x="12240494" y="6165308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1" name="Freihandform 43"/>
              <p:cNvSpPr/>
              <p:nvPr userDrawn="1"/>
            </p:nvSpPr>
            <p:spPr bwMode="gray">
              <a:xfrm rot="5400000">
                <a:off x="12240494" y="1180200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303561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7180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en-US" sz="2800" b="1" i="0" baseline="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ja-JP" altLang="en-US" noProof="0" dirty="0" smtClean="0"/>
              <a:t>スライドタイトルスライドタイトルスライドタイトル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6400" y="1177200"/>
            <a:ext cx="11376025" cy="44640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lvl5pPr>
          </a:lstStyle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ja-JP" altLang="en-US" dirty="0" smtClean="0"/>
              <a:t>見出し</a:t>
            </a:r>
            <a:r>
              <a:rPr lang="en-US" altLang="ja-JP" dirty="0" smtClean="0"/>
              <a:t>1:</a:t>
            </a:r>
            <a:r>
              <a:rPr lang="ja-JP" altLang="en-US" dirty="0" smtClean="0"/>
              <a:t>サブヘッドラインサブヘッドライン</a:t>
            </a:r>
            <a:endParaRPr lang="en-US" altLang="ja-JP" dirty="0" smtClean="0"/>
          </a:p>
          <a:p>
            <a:pPr marL="0" marR="0" lvl="4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ja-JP" altLang="en-US" dirty="0" smtClean="0"/>
              <a:t>見出し</a:t>
            </a:r>
            <a:r>
              <a:rPr lang="en-US" altLang="ja-JP" dirty="0" smtClean="0"/>
              <a:t>2: </a:t>
            </a:r>
            <a:r>
              <a:rPr lang="ja-JP" altLang="en-US" dirty="0" smtClean="0"/>
              <a:t>本文テキスト本文テキスト本文テキスト</a:t>
            </a:r>
            <a:endParaRPr lang="en-US" altLang="ja-JP" dirty="0" smtClean="0"/>
          </a:p>
          <a:p>
            <a:r>
              <a:rPr lang="ja-JP" altLang="en-US" dirty="0" smtClean="0"/>
              <a:t>見出し</a:t>
            </a:r>
            <a:r>
              <a:rPr lang="en-US" altLang="ja-JP" dirty="0" smtClean="0"/>
              <a:t>3: </a:t>
            </a:r>
            <a:r>
              <a:rPr lang="ja-JP" altLang="en-US" dirty="0" smtClean="0"/>
              <a:t>本文テキスト本文テキスト本文テキスト</a:t>
            </a:r>
            <a:endParaRPr lang="en-US" altLang="ja-JP" dirty="0" smtClean="0"/>
          </a:p>
          <a:p>
            <a:pPr lvl="1"/>
            <a:r>
              <a:rPr lang="ja-JP" altLang="en-US" dirty="0" smtClean="0"/>
              <a:t>見出し</a:t>
            </a:r>
            <a:r>
              <a:rPr lang="en-US" altLang="ja-JP" dirty="0" smtClean="0"/>
              <a:t>4: </a:t>
            </a:r>
            <a:r>
              <a:rPr lang="ja-JP" altLang="en-US" dirty="0" smtClean="0"/>
              <a:t>本文テキスト本文テキスト本文テキスト</a:t>
            </a:r>
            <a:endParaRPr lang="en-US" altLang="ja-JP" dirty="0" smtClean="0"/>
          </a:p>
          <a:p>
            <a:pPr lvl="2"/>
            <a:r>
              <a:rPr lang="ja-JP" altLang="en-US" dirty="0" smtClean="0"/>
              <a:t>見出し</a:t>
            </a:r>
            <a:r>
              <a:rPr lang="en-US" altLang="ja-JP" dirty="0" smtClean="0"/>
              <a:t>5: </a:t>
            </a:r>
            <a:r>
              <a:rPr lang="ja-JP" altLang="en-US" dirty="0" smtClean="0"/>
              <a:t>本文テキスト本文テキスト本文テキスト</a:t>
            </a:r>
            <a:endParaRPr lang="en-US" altLang="ja-JP" dirty="0"/>
          </a:p>
        </p:txBody>
      </p:sp>
      <p:sp>
        <p:nvSpPr>
          <p:cNvPr id="7" name="Textplatzhalter 1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6047420"/>
            <a:ext cx="11376025" cy="153888"/>
          </a:xfrm>
        </p:spPr>
        <p:txBody>
          <a:bodyPr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ja-JP" altLang="en-US" noProof="0" dirty="0" smtClean="0"/>
              <a:t>出展元や注釈のテキスト出展元や注釈のテキスト</a:t>
            </a:r>
            <a:endParaRPr lang="en-US" altLang="ja-JP" noProof="0" dirty="0" smtClean="0"/>
          </a:p>
        </p:txBody>
      </p:sp>
    </p:spTree>
    <p:extLst>
      <p:ext uri="{BB962C8B-B14F-4D97-AF65-F5344CB8AC3E}">
        <p14:creationId xmlns:p14="http://schemas.microsoft.com/office/powerpoint/2010/main" val="1888142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5699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en-US" sz="2800" b="1" i="0" baseline="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ja-JP" altLang="en-US" noProof="0" dirty="0" smtClean="0"/>
              <a:t>スライドタイトルスライドタイトルスライドタイトル</a:t>
            </a:r>
            <a:endParaRPr lang="en-US" noProof="0" dirty="0"/>
          </a:p>
        </p:txBody>
      </p:sp>
      <p:sp>
        <p:nvSpPr>
          <p:cNvPr id="6" name="Textplatzhalter 1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6047420"/>
            <a:ext cx="11376025" cy="153888"/>
          </a:xfrm>
        </p:spPr>
        <p:txBody>
          <a:bodyPr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ja-JP" altLang="en-US" noProof="0" dirty="0" smtClean="0"/>
              <a:t>出展元や注釈のテキスト出展元や注釈のテキスト</a:t>
            </a:r>
            <a:endParaRPr lang="en-US" altLang="ja-JP" noProof="0" dirty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6401" y="1177200"/>
            <a:ext cx="11377612" cy="276999"/>
          </a:xfrm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 sz="1800" b="1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ja-JP" altLang="en-US" noProof="0" dirty="0" smtClean="0"/>
              <a:t>グラフタイトルグラフタイトルグラフタイトル</a:t>
            </a:r>
            <a:endParaRPr lang="en-US" altLang="ja-JP" noProof="0" dirty="0" smtClean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6401" y="1598400"/>
            <a:ext cx="11377612" cy="246221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 noProof="0" dirty="0" smtClean="0"/>
              <a:t>Placeholder for the value unit</a:t>
            </a:r>
          </a:p>
        </p:txBody>
      </p:sp>
      <p:sp>
        <p:nvSpPr>
          <p:cNvPr id="10" name="Diagrammplatzhalter 9"/>
          <p:cNvSpPr>
            <a:spLocks noGrp="1"/>
          </p:cNvSpPr>
          <p:nvPr>
            <p:ph type="chart" sz="quarter" idx="15" hasCustomPrompt="1"/>
          </p:nvPr>
        </p:nvSpPr>
        <p:spPr bwMode="gray">
          <a:xfrm>
            <a:off x="407988" y="1845248"/>
            <a:ext cx="11374437" cy="3816000"/>
          </a:xfrm>
        </p:spPr>
        <p:txBody>
          <a:bodyPr lIns="36000" tIns="36000"/>
          <a:lstStyle>
            <a:lvl1pPr marL="0" indent="0">
              <a:spcBef>
                <a:spcPts val="0"/>
              </a:spcBef>
              <a:buNone/>
              <a:defRPr sz="1400" b="0"/>
            </a:lvl1pPr>
          </a:lstStyle>
          <a:p>
            <a:r>
              <a:rPr lang="en-US" noProof="0" dirty="0" smtClean="0"/>
              <a:t>Char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48693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471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en-US" sz="2800" b="1" i="0" baseline="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07193" y="403200"/>
            <a:ext cx="11375825" cy="387798"/>
          </a:xfrm>
        </p:spPr>
        <p:txBody>
          <a:bodyPr/>
          <a:lstStyle/>
          <a:p>
            <a:r>
              <a:rPr lang="ja-JP" altLang="en-US" noProof="0" dirty="0" smtClean="0"/>
              <a:t>スライドタイトルスライドタイトルスライドタイトル</a:t>
            </a:r>
            <a:endParaRPr lang="en-US" noProof="0" dirty="0"/>
          </a:p>
        </p:txBody>
      </p:sp>
      <p:sp>
        <p:nvSpPr>
          <p:cNvPr id="6" name="Textplatzhalter 1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6047420"/>
            <a:ext cx="5544000" cy="153888"/>
          </a:xfrm>
        </p:spPr>
        <p:txBody>
          <a:bodyPr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ja-JP" altLang="en-US" noProof="0" dirty="0" smtClean="0"/>
              <a:t>出展元や注釈のテキスト出展元や注釈のテキスト</a:t>
            </a:r>
            <a:endParaRPr lang="en-US" altLang="ja-JP" noProof="0" dirty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6401" y="1177200"/>
            <a:ext cx="5544000" cy="276999"/>
          </a:xfrm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 sz="18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ja-JP" altLang="en-US" noProof="0" dirty="0" smtClean="0"/>
              <a:t>グラフタイトルグラフタイトル</a:t>
            </a:r>
            <a:endParaRPr lang="en-US" altLang="ja-JP" noProof="0" dirty="0" smtClean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6401" y="1490400"/>
            <a:ext cx="5544000" cy="246221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 noProof="0" dirty="0" smtClean="0"/>
              <a:t>Placeholder for the value unit</a:t>
            </a:r>
          </a:p>
        </p:txBody>
      </p:sp>
      <p:sp>
        <p:nvSpPr>
          <p:cNvPr id="10" name="Diagrammplatzhalter 9"/>
          <p:cNvSpPr>
            <a:spLocks noGrp="1"/>
          </p:cNvSpPr>
          <p:nvPr>
            <p:ph type="chart" sz="quarter" idx="15" hasCustomPrompt="1"/>
          </p:nvPr>
        </p:nvSpPr>
        <p:spPr bwMode="gray">
          <a:xfrm>
            <a:off x="407989" y="1825200"/>
            <a:ext cx="5543550" cy="3816000"/>
          </a:xfrm>
        </p:spPr>
        <p:txBody>
          <a:bodyPr lIns="36000" tIns="36000"/>
          <a:lstStyle>
            <a:lvl1pPr marL="0" indent="0">
              <a:spcBef>
                <a:spcPts val="0"/>
              </a:spcBef>
              <a:buNone/>
              <a:defRPr sz="1400" b="0"/>
            </a:lvl1pPr>
          </a:lstStyle>
          <a:p>
            <a:r>
              <a:rPr lang="en-US" noProof="0" dirty="0" smtClean="0"/>
              <a:t>Chart</a:t>
            </a:r>
            <a:endParaRPr lang="en-US" noProof="0" dirty="0"/>
          </a:p>
        </p:txBody>
      </p:sp>
      <p:sp>
        <p:nvSpPr>
          <p:cNvPr id="11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9018" y="6047420"/>
            <a:ext cx="5544000" cy="153888"/>
          </a:xfrm>
        </p:spPr>
        <p:txBody>
          <a:bodyPr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ja-JP" altLang="en-US" noProof="0" dirty="0" smtClean="0"/>
              <a:t>出展元や注釈のテキスト出展元や注釈のテキスト</a:t>
            </a:r>
            <a:endParaRPr lang="en-US" altLang="ja-JP" noProof="0" dirty="0" smtClean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39018" y="1177200"/>
            <a:ext cx="5544000" cy="276999"/>
          </a:xfrm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 sz="18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ja-JP" altLang="en-US" noProof="0" dirty="0" smtClean="0"/>
              <a:t>グラフタイトルグラフタイトル</a:t>
            </a:r>
            <a:endParaRPr lang="en-US" altLang="ja-JP" noProof="0" dirty="0" smtClean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39018" y="1490400"/>
            <a:ext cx="5544000" cy="246221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 noProof="0" dirty="0" smtClean="0"/>
              <a:t>Placeholder for the value unit</a:t>
            </a:r>
          </a:p>
        </p:txBody>
      </p:sp>
      <p:sp>
        <p:nvSpPr>
          <p:cNvPr id="14" name="Diagrammplatzhalter 9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6239468" y="1825200"/>
            <a:ext cx="5543550" cy="3816000"/>
          </a:xfrm>
        </p:spPr>
        <p:txBody>
          <a:bodyPr lIns="36000" tIns="36000"/>
          <a:lstStyle>
            <a:lvl1pPr marL="0" indent="0">
              <a:spcBef>
                <a:spcPts val="0"/>
              </a:spcBef>
              <a:buNone/>
              <a:defRPr sz="1400" b="0"/>
            </a:lvl1pPr>
          </a:lstStyle>
          <a:p>
            <a:r>
              <a:rPr lang="en-US" noProof="0" dirty="0" smtClean="0"/>
              <a:t>Char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73933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0167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en-US" sz="2800" b="1" i="0" baseline="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07193" y="403200"/>
            <a:ext cx="11375825" cy="387798"/>
          </a:xfrm>
        </p:spPr>
        <p:txBody>
          <a:bodyPr/>
          <a:lstStyle/>
          <a:p>
            <a:r>
              <a:rPr lang="ja-JP" altLang="en-US" noProof="0" dirty="0" smtClean="0"/>
              <a:t>スライドタイトルスライドタイトルスライドタイトル</a:t>
            </a:r>
            <a:endParaRPr lang="en-US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39018" y="1177200"/>
            <a:ext cx="5544000" cy="276999"/>
          </a:xfrm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 sz="18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ja-JP" altLang="en-US" noProof="0" dirty="0" smtClean="0"/>
              <a:t>グラフタイトルグラフタイトル</a:t>
            </a:r>
            <a:endParaRPr lang="en-US" altLang="ja-JP" noProof="0" dirty="0" smtClean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39018" y="1490400"/>
            <a:ext cx="5544000" cy="246221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 noProof="0" dirty="0" smtClean="0"/>
              <a:t>Placeholder for the value unit</a:t>
            </a:r>
          </a:p>
        </p:txBody>
      </p:sp>
      <p:sp>
        <p:nvSpPr>
          <p:cNvPr id="14" name="Diagrammplatzhalter 9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6239468" y="1825200"/>
            <a:ext cx="5543550" cy="3816350"/>
          </a:xfrm>
        </p:spPr>
        <p:txBody>
          <a:bodyPr lIns="36000" tIns="36000"/>
          <a:lstStyle>
            <a:lvl1pPr marL="0" indent="0">
              <a:spcBef>
                <a:spcPts val="0"/>
              </a:spcBef>
              <a:buNone/>
              <a:defRPr sz="1400" b="0"/>
            </a:lvl1pPr>
          </a:lstStyle>
          <a:p>
            <a:r>
              <a:rPr lang="en-US" noProof="0" dirty="0" smtClean="0"/>
              <a:t>Chart</a:t>
            </a:r>
            <a:endParaRPr lang="en-US" noProof="0" dirty="0"/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6047420"/>
            <a:ext cx="11376025" cy="153888"/>
          </a:xfrm>
        </p:spPr>
        <p:txBody>
          <a:bodyPr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ja-JP" altLang="en-US" noProof="0" dirty="0" smtClean="0"/>
              <a:t>出展元や注釈のテキスト出展元や注釈のテキスト</a:t>
            </a:r>
            <a:endParaRPr lang="en-US" altLang="ja-JP" noProof="0" dirty="0" smtClean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6401" y="1177200"/>
            <a:ext cx="5545138" cy="4464050"/>
          </a:xfrm>
        </p:spPr>
        <p:txBody>
          <a:bodyPr/>
          <a:lstStyle>
            <a:lvl2pPr>
              <a:defRPr/>
            </a:lvl2pPr>
            <a:lvl3pPr>
              <a:defRPr/>
            </a:lvl3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lvl5pPr>
          </a:lstStyle>
          <a:p>
            <a:pPr lvl="3"/>
            <a:r>
              <a:rPr lang="ja-JP" altLang="en-US" dirty="0" smtClean="0"/>
              <a:t>見出し</a:t>
            </a:r>
            <a:r>
              <a:rPr lang="en-US" altLang="ja-JP" dirty="0" smtClean="0"/>
              <a:t>1:</a:t>
            </a:r>
            <a:r>
              <a:rPr lang="ja-JP" altLang="en-US" dirty="0" smtClean="0"/>
              <a:t>サブヘッドライン</a:t>
            </a:r>
            <a:endParaRPr lang="en-US" altLang="ja-JP" dirty="0" smtClean="0"/>
          </a:p>
          <a:p>
            <a:pPr marL="0" marR="0" lvl="4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ja-JP" altLang="en-US" dirty="0" smtClean="0"/>
              <a:t>見出し</a:t>
            </a:r>
            <a:r>
              <a:rPr lang="en-US" altLang="ja-JP" dirty="0" smtClean="0"/>
              <a:t>2: </a:t>
            </a:r>
            <a:r>
              <a:rPr lang="ja-JP" altLang="en-US" dirty="0" smtClean="0"/>
              <a:t>本文テキスト本文テキスト本文テキスト</a:t>
            </a:r>
            <a:endParaRPr lang="en-US" altLang="ja-JP" dirty="0" smtClean="0"/>
          </a:p>
          <a:p>
            <a:r>
              <a:rPr lang="ja-JP" altLang="en-US" dirty="0" smtClean="0"/>
              <a:t>見出し</a:t>
            </a:r>
            <a:r>
              <a:rPr lang="en-US" altLang="ja-JP" dirty="0" smtClean="0"/>
              <a:t>3: </a:t>
            </a:r>
            <a:r>
              <a:rPr lang="ja-JP" altLang="en-US" dirty="0" smtClean="0"/>
              <a:t>本文テキスト本文テキスト本文テキスト本文テキスト</a:t>
            </a:r>
            <a:endParaRPr lang="en-US" altLang="ja-JP" dirty="0" smtClean="0"/>
          </a:p>
          <a:p>
            <a:pPr lvl="1"/>
            <a:r>
              <a:rPr lang="ja-JP" altLang="en-US" dirty="0" smtClean="0"/>
              <a:t>見出し</a:t>
            </a:r>
            <a:r>
              <a:rPr lang="en-US" altLang="ja-JP" dirty="0" smtClean="0"/>
              <a:t>4: </a:t>
            </a:r>
            <a:r>
              <a:rPr lang="ja-JP" altLang="en-US" dirty="0" smtClean="0"/>
              <a:t>本文テキスト本文テキスト本文テキスト</a:t>
            </a:r>
            <a:endParaRPr lang="en-US" altLang="ja-JP" dirty="0" smtClean="0"/>
          </a:p>
          <a:p>
            <a:pPr lvl="2"/>
            <a:r>
              <a:rPr lang="ja-JP" altLang="en-US" dirty="0" smtClean="0"/>
              <a:t>見出し</a:t>
            </a:r>
            <a:r>
              <a:rPr lang="en-US" altLang="ja-JP" dirty="0" smtClean="0"/>
              <a:t>5: </a:t>
            </a:r>
            <a:r>
              <a:rPr lang="ja-JP" altLang="en-US" dirty="0" smtClean="0"/>
              <a:t>本文テキスト本文テキスト本文テキスト</a:t>
            </a:r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4577801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2285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en-US" sz="2800" b="1" i="0" baseline="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07193" y="403200"/>
            <a:ext cx="11375825" cy="387798"/>
          </a:xfrm>
        </p:spPr>
        <p:txBody>
          <a:bodyPr/>
          <a:lstStyle/>
          <a:p>
            <a:r>
              <a:rPr lang="ja-JP" altLang="en-US" noProof="0" dirty="0" smtClean="0"/>
              <a:t>スライドタイトルスライドタイトルスライドタイトル</a:t>
            </a:r>
            <a:endParaRPr lang="en-US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07193" y="1177200"/>
            <a:ext cx="5544000" cy="276999"/>
          </a:xfrm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 sz="18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ja-JP" altLang="en-US" noProof="0" dirty="0" smtClean="0"/>
              <a:t>グラフタイトルグラフタイトルグラフタイトル</a:t>
            </a:r>
            <a:endParaRPr lang="en-US" altLang="ja-JP" noProof="0" dirty="0" smtClean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07193" y="1490400"/>
            <a:ext cx="5544000" cy="246221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 noProof="0" dirty="0" smtClean="0"/>
              <a:t>Placeholder for the value unit</a:t>
            </a:r>
          </a:p>
        </p:txBody>
      </p:sp>
      <p:sp>
        <p:nvSpPr>
          <p:cNvPr id="14" name="Diagrammplatzhalter 9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407193" y="1825200"/>
            <a:ext cx="5543550" cy="3816000"/>
          </a:xfrm>
        </p:spPr>
        <p:txBody>
          <a:bodyPr lIns="36000" tIns="36000"/>
          <a:lstStyle>
            <a:lvl1pPr marL="0" indent="0">
              <a:spcBef>
                <a:spcPts val="0"/>
              </a:spcBef>
              <a:buNone/>
              <a:defRPr sz="1400" b="0"/>
            </a:lvl1pPr>
          </a:lstStyle>
          <a:p>
            <a:r>
              <a:rPr lang="en-US" noProof="0" dirty="0" smtClean="0"/>
              <a:t>Chart</a:t>
            </a:r>
            <a:endParaRPr lang="en-US" noProof="0" dirty="0"/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6047420"/>
            <a:ext cx="11376025" cy="153888"/>
          </a:xfrm>
        </p:spPr>
        <p:txBody>
          <a:bodyPr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ja-JP" altLang="en-US" noProof="0" dirty="0" smtClean="0"/>
              <a:t>出展元や注釈のテキスト出展元や注釈のテキスト</a:t>
            </a:r>
            <a:endParaRPr lang="en-US" altLang="ja-JP" noProof="0" dirty="0" smtClean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7880" y="1177200"/>
            <a:ext cx="5545138" cy="4464050"/>
          </a:xfrm>
        </p:spPr>
        <p:txBody>
          <a:bodyPr/>
          <a:lstStyle>
            <a:lvl2pPr>
              <a:defRPr/>
            </a:lvl2pPr>
            <a:lvl3pPr>
              <a:defRPr/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lvl5pPr>
          </a:lstStyle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ja-JP" altLang="en-US" dirty="0" smtClean="0"/>
              <a:t>見出し</a:t>
            </a:r>
            <a:r>
              <a:rPr lang="en-US" altLang="ja-JP" dirty="0" smtClean="0"/>
              <a:t>1:</a:t>
            </a:r>
            <a:r>
              <a:rPr lang="ja-JP" altLang="en-US" dirty="0" smtClean="0"/>
              <a:t>サブヘッドラインサブヘッドライン</a:t>
            </a:r>
            <a:endParaRPr lang="en-US" altLang="ja-JP" dirty="0" smtClean="0"/>
          </a:p>
          <a:p>
            <a:pPr marL="0" marR="0" lvl="4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ja-JP" altLang="en-US" dirty="0" smtClean="0"/>
              <a:t>見出し</a:t>
            </a:r>
            <a:r>
              <a:rPr lang="en-US" altLang="ja-JP" dirty="0" smtClean="0"/>
              <a:t>2: </a:t>
            </a:r>
            <a:r>
              <a:rPr lang="ja-JP" altLang="en-US" dirty="0" smtClean="0"/>
              <a:t>本文テキスト本文テキスト本文テキスト</a:t>
            </a:r>
            <a:endParaRPr lang="en-US" altLang="ja-JP" dirty="0" smtClean="0"/>
          </a:p>
          <a:p>
            <a:r>
              <a:rPr lang="ja-JP" altLang="en-US" dirty="0" smtClean="0"/>
              <a:t>見出し</a:t>
            </a:r>
            <a:r>
              <a:rPr lang="en-US" altLang="ja-JP" dirty="0" smtClean="0"/>
              <a:t>3: </a:t>
            </a:r>
            <a:r>
              <a:rPr lang="ja-JP" altLang="en-US" dirty="0" smtClean="0"/>
              <a:t>本文テキスト本文テキスト本文テキスト</a:t>
            </a:r>
            <a:endParaRPr lang="en-US" altLang="ja-JP" dirty="0" smtClean="0"/>
          </a:p>
          <a:p>
            <a:pPr lvl="1"/>
            <a:r>
              <a:rPr lang="ja-JP" altLang="en-US" dirty="0" smtClean="0"/>
              <a:t>見出し</a:t>
            </a:r>
            <a:r>
              <a:rPr lang="en-US" altLang="ja-JP" dirty="0" smtClean="0"/>
              <a:t>4: </a:t>
            </a:r>
            <a:r>
              <a:rPr lang="ja-JP" altLang="en-US" dirty="0" smtClean="0"/>
              <a:t>本文テキスト本文テキスト本文テキスト</a:t>
            </a:r>
            <a:endParaRPr lang="en-US" altLang="ja-JP" dirty="0" smtClean="0"/>
          </a:p>
          <a:p>
            <a:pPr lvl="2"/>
            <a:r>
              <a:rPr lang="ja-JP" altLang="en-US" dirty="0" smtClean="0"/>
              <a:t>見出し</a:t>
            </a:r>
            <a:r>
              <a:rPr lang="en-US" altLang="ja-JP" dirty="0" smtClean="0"/>
              <a:t>5: </a:t>
            </a:r>
            <a:r>
              <a:rPr lang="ja-JP" altLang="en-US" dirty="0" smtClean="0"/>
              <a:t>本文テキスト本文テキスト本文テキスト</a:t>
            </a:r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723155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ja-JP" altLang="en-US" noProof="0" dirty="0" smtClean="0"/>
              <a:t>スライドタイトルスライドタイトルスライドタイトル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05666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07193" y="404664"/>
            <a:ext cx="11375825" cy="3877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ja-JP" altLang="en-US" noProof="0" dirty="0" smtClean="0"/>
              <a:t>スライドタイトルスライドタイトルスライドタイトル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07193" y="1177209"/>
            <a:ext cx="11375030" cy="47513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3"/>
            <a:r>
              <a:rPr lang="ja-JP" altLang="en-US" dirty="0" smtClean="0"/>
              <a:t>見出し</a:t>
            </a:r>
            <a:r>
              <a:rPr lang="en-US" altLang="ja-JP" dirty="0" smtClean="0"/>
              <a:t>1:</a:t>
            </a:r>
            <a:r>
              <a:rPr lang="ja-JP" altLang="en-US" dirty="0" smtClean="0"/>
              <a:t>サブヘッドライン</a:t>
            </a:r>
            <a:endParaRPr lang="en-US" altLang="ja-JP" dirty="0" smtClean="0"/>
          </a:p>
          <a:p>
            <a:pPr marL="0" marR="0" lvl="4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ja-JP" altLang="en-US" dirty="0" smtClean="0"/>
              <a:t>見出し</a:t>
            </a:r>
            <a:r>
              <a:rPr lang="en-US" altLang="ja-JP" dirty="0" smtClean="0"/>
              <a:t>2: </a:t>
            </a:r>
            <a:r>
              <a:rPr lang="ja-JP" altLang="en-US" dirty="0" smtClean="0"/>
              <a:t>本文テキスト本文テキスト本文テキスト</a:t>
            </a:r>
            <a:endParaRPr lang="en-US" altLang="ja-JP" dirty="0" smtClean="0"/>
          </a:p>
          <a:p>
            <a:r>
              <a:rPr lang="ja-JP" altLang="en-US" dirty="0" smtClean="0"/>
              <a:t>見出し</a:t>
            </a:r>
            <a:r>
              <a:rPr lang="en-US" altLang="ja-JP" dirty="0" smtClean="0"/>
              <a:t>3: </a:t>
            </a:r>
            <a:r>
              <a:rPr lang="ja-JP" altLang="en-US" dirty="0" smtClean="0"/>
              <a:t>本文テキスト本文テキスト本文テキスト本文テキスト</a:t>
            </a:r>
            <a:endParaRPr lang="en-US" altLang="ja-JP" dirty="0" smtClean="0"/>
          </a:p>
          <a:p>
            <a:pPr lvl="1"/>
            <a:r>
              <a:rPr lang="ja-JP" altLang="en-US" dirty="0" smtClean="0"/>
              <a:t>見出し</a:t>
            </a:r>
            <a:r>
              <a:rPr lang="en-US" altLang="ja-JP" dirty="0" smtClean="0"/>
              <a:t>4: </a:t>
            </a:r>
            <a:r>
              <a:rPr lang="ja-JP" altLang="en-US" dirty="0" smtClean="0"/>
              <a:t>本文テキスト本文テキスト本文テキスト</a:t>
            </a:r>
            <a:endParaRPr lang="en-US" altLang="ja-JP" dirty="0" smtClean="0"/>
          </a:p>
          <a:p>
            <a:pPr lvl="2"/>
            <a:r>
              <a:rPr lang="ja-JP" altLang="en-US" dirty="0" smtClean="0"/>
              <a:t>見出し</a:t>
            </a:r>
            <a:r>
              <a:rPr lang="en-US" altLang="ja-JP" dirty="0" smtClean="0"/>
              <a:t>5: </a:t>
            </a:r>
            <a:r>
              <a:rPr lang="ja-JP" altLang="en-US" dirty="0" smtClean="0"/>
              <a:t>本文テキスト本文テキスト本文テキスト</a:t>
            </a:r>
            <a:endParaRPr lang="en-US" altLang="ja-JP" dirty="0"/>
          </a:p>
        </p:txBody>
      </p:sp>
      <p:sp>
        <p:nvSpPr>
          <p:cNvPr id="7" name="Freihandform 6"/>
          <p:cNvSpPr/>
          <p:nvPr/>
        </p:nvSpPr>
        <p:spPr bwMode="gray">
          <a:xfrm>
            <a:off x="0" y="880346"/>
            <a:ext cx="756000" cy="0"/>
          </a:xfrm>
          <a:custGeom>
            <a:avLst/>
            <a:gdLst>
              <a:gd name="connsiteX0" fmla="*/ 0 w 409575"/>
              <a:gd name="connsiteY0" fmla="*/ 0 h 0"/>
              <a:gd name="connsiteX1" fmla="*/ 409575 w 40957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09575">
                <a:moveTo>
                  <a:pt x="0" y="0"/>
                </a:moveTo>
                <a:lnTo>
                  <a:pt x="409575" y="0"/>
                </a:lnTo>
              </a:path>
            </a:pathLst>
          </a:cu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正方形/長方形 55"/>
          <p:cNvSpPr/>
          <p:nvPr/>
        </p:nvSpPr>
        <p:spPr>
          <a:xfrm>
            <a:off x="0" y="6516000"/>
            <a:ext cx="12192000" cy="34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pic>
        <p:nvPicPr>
          <p:cNvPr id="57" name="Grafik 8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920705" y="6624301"/>
            <a:ext cx="863927" cy="163254"/>
          </a:xfrm>
          <a:prstGeom prst="rect">
            <a:avLst/>
          </a:prstGeom>
        </p:spPr>
      </p:pic>
      <p:sp>
        <p:nvSpPr>
          <p:cNvPr id="58" name="フッター プレースホルダー 3"/>
          <p:cNvSpPr txBox="1">
            <a:spLocks/>
          </p:cNvSpPr>
          <p:nvPr/>
        </p:nvSpPr>
        <p:spPr>
          <a:xfrm>
            <a:off x="372852" y="6552000"/>
            <a:ext cx="754915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ja-JP" dirty="0" smtClean="0"/>
              <a:t>Page </a:t>
            </a:r>
            <a:fld id="{D3A7D11D-3B3A-48A6-84AD-CB21087E2F77}" type="slidenum">
              <a:rPr lang="en-US" altLang="ja-JP" smtClean="0"/>
              <a:pPr algn="l"/>
              <a:t>‹#›</a:t>
            </a:fld>
            <a:endParaRPr lang="en-US" altLang="ja-JP" dirty="0" smtClean="0"/>
          </a:p>
        </p:txBody>
      </p:sp>
      <p:sp>
        <p:nvSpPr>
          <p:cNvPr id="59" name="フッター プレースホルダー 3"/>
          <p:cNvSpPr txBox="1">
            <a:spLocks/>
          </p:cNvSpPr>
          <p:nvPr/>
        </p:nvSpPr>
        <p:spPr>
          <a:xfrm>
            <a:off x="1059067" y="6552000"/>
            <a:ext cx="4028821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10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 data copy / No data transfer permitted</a:t>
            </a:r>
            <a:endParaRPr lang="en-US" altLang="ja-JP" b="0" dirty="0" smtClean="0">
              <a:solidFill>
                <a:schemeClr val="tx1"/>
              </a:solidFill>
            </a:endParaRPr>
          </a:p>
        </p:txBody>
      </p:sp>
      <p:grpSp>
        <p:nvGrpSpPr>
          <p:cNvPr id="26" name="グループ化 25"/>
          <p:cNvGrpSpPr/>
          <p:nvPr/>
        </p:nvGrpSpPr>
        <p:grpSpPr>
          <a:xfrm>
            <a:off x="-100749" y="-82436"/>
            <a:ext cx="12360988" cy="7022872"/>
            <a:chOff x="-100749" y="-82436"/>
            <a:chExt cx="12360988" cy="7022872"/>
          </a:xfrm>
        </p:grpSpPr>
        <p:grpSp>
          <p:nvGrpSpPr>
            <p:cNvPr id="40" name="Gruppieren 31"/>
            <p:cNvGrpSpPr/>
            <p:nvPr userDrawn="1"/>
          </p:nvGrpSpPr>
          <p:grpSpPr bwMode="gray">
            <a:xfrm>
              <a:off x="407368" y="6868436"/>
              <a:ext cx="11377264" cy="72000"/>
              <a:chOff x="407368" y="0"/>
              <a:chExt cx="11377264" cy="108000"/>
            </a:xfrm>
          </p:grpSpPr>
          <p:sp>
            <p:nvSpPr>
              <p:cNvPr id="60" name="Freihandform 32"/>
              <p:cNvSpPr/>
              <p:nvPr userDrawn="1"/>
            </p:nvSpPr>
            <p:spPr bwMode="gray">
              <a:xfrm>
                <a:off x="595198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1" name="Freihandform 33"/>
              <p:cNvSpPr/>
              <p:nvPr userDrawn="1"/>
            </p:nvSpPr>
            <p:spPr bwMode="gray">
              <a:xfrm>
                <a:off x="407368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2" name="Freihandform 34"/>
              <p:cNvSpPr/>
              <p:nvPr userDrawn="1"/>
            </p:nvSpPr>
            <p:spPr bwMode="gray">
              <a:xfrm>
                <a:off x="117846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3" name="Freihandform 35"/>
              <p:cNvSpPr/>
              <p:nvPr userDrawn="1"/>
            </p:nvSpPr>
            <p:spPr bwMode="gray">
              <a:xfrm>
                <a:off x="6240016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41" name="Gruppieren 30"/>
            <p:cNvGrpSpPr/>
            <p:nvPr userDrawn="1"/>
          </p:nvGrpSpPr>
          <p:grpSpPr bwMode="gray">
            <a:xfrm>
              <a:off x="391113" y="-82436"/>
              <a:ext cx="11377264" cy="72000"/>
              <a:chOff x="407368" y="0"/>
              <a:chExt cx="11377264" cy="108000"/>
            </a:xfrm>
          </p:grpSpPr>
          <p:sp>
            <p:nvSpPr>
              <p:cNvPr id="52" name="Freihandform 26"/>
              <p:cNvSpPr/>
              <p:nvPr userDrawn="1"/>
            </p:nvSpPr>
            <p:spPr bwMode="gray">
              <a:xfrm>
                <a:off x="5951984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3" name="Freihandform 27"/>
              <p:cNvSpPr/>
              <p:nvPr userDrawn="1"/>
            </p:nvSpPr>
            <p:spPr bwMode="gray">
              <a:xfrm>
                <a:off x="407368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4" name="Freihandform 28"/>
              <p:cNvSpPr/>
              <p:nvPr userDrawn="1"/>
            </p:nvSpPr>
            <p:spPr bwMode="gray">
              <a:xfrm>
                <a:off x="11784632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5" name="Freihandform 29"/>
              <p:cNvSpPr/>
              <p:nvPr userDrawn="1"/>
            </p:nvSpPr>
            <p:spPr bwMode="gray">
              <a:xfrm>
                <a:off x="6240016" y="0"/>
                <a:ext cx="0" cy="108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46" name="グループ化 45"/>
            <p:cNvGrpSpPr/>
            <p:nvPr userDrawn="1"/>
          </p:nvGrpSpPr>
          <p:grpSpPr>
            <a:xfrm>
              <a:off x="-100749" y="1216200"/>
              <a:ext cx="72000" cy="4985108"/>
              <a:chOff x="-84494" y="1216200"/>
              <a:chExt cx="72000" cy="4985108"/>
            </a:xfrm>
          </p:grpSpPr>
          <p:sp>
            <p:nvSpPr>
              <p:cNvPr id="50" name="Freihandform 37"/>
              <p:cNvSpPr/>
              <p:nvPr userDrawn="1"/>
            </p:nvSpPr>
            <p:spPr bwMode="gray">
              <a:xfrm rot="5400000">
                <a:off x="-48494" y="6165308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1" name="Freihandform 38"/>
              <p:cNvSpPr/>
              <p:nvPr userDrawn="1"/>
            </p:nvSpPr>
            <p:spPr bwMode="gray">
              <a:xfrm rot="5400000">
                <a:off x="-48494" y="1180200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47" name="グループ化 46"/>
            <p:cNvGrpSpPr/>
            <p:nvPr userDrawn="1"/>
          </p:nvGrpSpPr>
          <p:grpSpPr>
            <a:xfrm>
              <a:off x="12188239" y="1216200"/>
              <a:ext cx="72000" cy="4985108"/>
              <a:chOff x="12204494" y="1216200"/>
              <a:chExt cx="72000" cy="4985108"/>
            </a:xfrm>
          </p:grpSpPr>
          <p:sp>
            <p:nvSpPr>
              <p:cNvPr id="48" name="Freihandform 42"/>
              <p:cNvSpPr/>
              <p:nvPr userDrawn="1"/>
            </p:nvSpPr>
            <p:spPr bwMode="gray">
              <a:xfrm rot="5400000">
                <a:off x="12240494" y="6165308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9" name="Freihandform 43"/>
              <p:cNvSpPr/>
              <p:nvPr userDrawn="1"/>
            </p:nvSpPr>
            <p:spPr bwMode="gray">
              <a:xfrm rot="5400000">
                <a:off x="12240494" y="1180200"/>
                <a:ext cx="0" cy="72000"/>
              </a:xfrm>
              <a:custGeom>
                <a:avLst/>
                <a:gdLst>
                  <a:gd name="connsiteX0" fmla="*/ 0 w 0"/>
                  <a:gd name="connsiteY0" fmla="*/ 0 h 211667"/>
                  <a:gd name="connsiteX1" fmla="*/ 0 w 0"/>
                  <a:gd name="connsiteY1" fmla="*/ 211667 h 21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11667">
                    <a:moveTo>
                      <a:pt x="0" y="0"/>
                    </a:moveTo>
                    <a:lnTo>
                      <a:pt x="0" y="211667"/>
                    </a:lnTo>
                  </a:path>
                </a:pathLst>
              </a:custGeom>
              <a:noFill/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9349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63" r:id="rId3"/>
    <p:sldLayoutId id="2147483650" r:id="rId4"/>
    <p:sldLayoutId id="2147483679" r:id="rId5"/>
    <p:sldLayoutId id="2147483680" r:id="rId6"/>
    <p:sldLayoutId id="2147483681" r:id="rId7"/>
    <p:sldLayoutId id="2147483682" r:id="rId8"/>
    <p:sldLayoutId id="2147483654" r:id="rId9"/>
    <p:sldLayoutId id="2147483655" r:id="rId10"/>
    <p:sldLayoutId id="2147483674" r:id="rId11"/>
    <p:sldLayoutId id="2147483675" r:id="rId12"/>
    <p:sldLayoutId id="2147483676" r:id="rId13"/>
    <p:sldLayoutId id="2147483677" r:id="rId14"/>
    <p:sldLayoutId id="2147483684" r:id="rId15"/>
    <p:sldLayoutId id="2147483685" r:id="rId16"/>
    <p:sldLayoutId id="2147483686" r:id="rId17"/>
    <p:sldLayoutId id="2147483678" r:id="rId1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kumimoji="1"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0000" indent="-269875" algn="l" defTabSz="914400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Font typeface="Arial" panose="020B0604020202020204" pitchFamily="34" charset="0"/>
        <a:buChar char="–"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9138" indent="-271463" algn="l" defTabSz="914400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Font typeface="Arial" panose="020B0604020202020204" pitchFamily="34" charset="0"/>
        <a:buChar char="–"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1400"/>
        </a:spcBef>
        <a:buClr>
          <a:schemeClr val="tx1"/>
        </a:buClr>
        <a:buFont typeface="Arial" panose="020B0604020202020204" pitchFamily="34" charset="0"/>
        <a:buNone/>
        <a:defRPr kumimoji="1" sz="18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1000"/>
        </a:spcBef>
        <a:spcAft>
          <a:spcPts val="0"/>
        </a:spcAft>
        <a:buClr>
          <a:schemeClr val="tx1"/>
        </a:buClr>
        <a:buSzTx/>
        <a:buFont typeface="Arial" panose="020B0604020202020204" pitchFamily="34" charset="0"/>
        <a:buNone/>
        <a:tabLst/>
        <a:defRPr kumimoji="1" sz="18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57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orient="horz" pos="913" userDrawn="1">
          <p15:clr>
            <a:srgbClr val="F26B43"/>
          </p15:clr>
        </p15:guide>
        <p15:guide id="4" orient="horz" pos="3906" userDrawn="1">
          <p15:clr>
            <a:srgbClr val="F26B43"/>
          </p15:clr>
        </p15:guide>
        <p15:guide id="5" pos="3749" userDrawn="1">
          <p15:clr>
            <a:srgbClr val="F26B43"/>
          </p15:clr>
        </p15:guide>
        <p15:guide id="6" pos="393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www.gutenberg.org/files/11/11-0.txt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emf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reilly.co.jp/books/9784873118369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407999" y="4634557"/>
            <a:ext cx="11376025" cy="443198"/>
          </a:xfrm>
        </p:spPr>
        <p:txBody>
          <a:bodyPr/>
          <a:lstStyle/>
          <a:p>
            <a:r>
              <a:rPr kumimoji="1" lang="en-US" altLang="ja-JP" dirty="0" smtClean="0"/>
              <a:t>word2vec</a:t>
            </a:r>
            <a:r>
              <a:rPr kumimoji="1" lang="ja-JP" altLang="en-US" dirty="0" smtClean="0"/>
              <a:t>の紹介</a:t>
            </a:r>
            <a:endParaRPr kumimoji="1" lang="ja-JP" altLang="en-US" dirty="0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407999" y="5377748"/>
            <a:ext cx="11376025" cy="338554"/>
          </a:xfrm>
        </p:spPr>
        <p:txBody>
          <a:bodyPr/>
          <a:lstStyle/>
          <a:p>
            <a:r>
              <a:rPr lang="ja-JP" altLang="en-US" smtClean="0"/>
              <a:t>自然言語処理のための単語のベクトル化</a:t>
            </a:r>
            <a:endParaRPr lang="en-US" altLang="ja-JP" dirty="0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quarter" idx="10"/>
          </p:nvPr>
        </p:nvSpPr>
        <p:spPr>
          <a:xfrm>
            <a:off x="408000" y="6206080"/>
            <a:ext cx="11376025" cy="215444"/>
          </a:xfrm>
        </p:spPr>
        <p:txBody>
          <a:bodyPr/>
          <a:lstStyle/>
          <a:p>
            <a:r>
              <a:rPr lang="ja-JP" altLang="en-US" dirty="0"/>
              <a:t>科学ソフト開発</a:t>
            </a:r>
            <a:r>
              <a:rPr lang="zh-TW" altLang="en-US" dirty="0" smtClean="0"/>
              <a:t>  </a:t>
            </a:r>
            <a:r>
              <a:rPr lang="en-US" altLang="zh-TW" dirty="0"/>
              <a:t>|  </a:t>
            </a:r>
            <a:r>
              <a:rPr lang="ja-JP" altLang="en-US" dirty="0" smtClean="0"/>
              <a:t>秋山</a:t>
            </a:r>
            <a:r>
              <a:rPr lang="ja-JP" altLang="en-US" dirty="0"/>
              <a:t>光弘</a:t>
            </a:r>
            <a:r>
              <a:rPr lang="zh-TW" altLang="en-US" dirty="0" smtClean="0"/>
              <a:t>   </a:t>
            </a:r>
            <a:r>
              <a:rPr lang="en-US" altLang="zh-TW" dirty="0"/>
              <a:t>|  </a:t>
            </a:r>
            <a:r>
              <a:rPr lang="en-US" altLang="ja-JP" dirty="0" smtClean="0"/>
              <a:t>2019</a:t>
            </a:r>
            <a:r>
              <a:rPr lang="ja-JP" altLang="en-US" dirty="0" smtClean="0"/>
              <a:t>年</a:t>
            </a:r>
            <a:r>
              <a:rPr lang="en-US" altLang="ja-JP" dirty="0" smtClean="0"/>
              <a:t>12</a:t>
            </a:r>
            <a:r>
              <a:rPr lang="ja-JP" altLang="en-US" dirty="0" smtClean="0"/>
              <a:t>月</a:t>
            </a:r>
            <a:r>
              <a:rPr lang="en-US" altLang="ja-JP" dirty="0" smtClean="0"/>
              <a:t>11</a:t>
            </a:r>
            <a:r>
              <a:rPr lang="ja-JP" altLang="en-US" dirty="0" smtClean="0"/>
              <a:t>日</a:t>
            </a:r>
            <a:endParaRPr lang="en-US" altLang="ja-JP" dirty="0"/>
          </a:p>
        </p:txBody>
      </p:sp>
      <p:pic>
        <p:nvPicPr>
          <p:cNvPr id="5" name="図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12" y="320403"/>
            <a:ext cx="1600376" cy="2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6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学習</a:t>
            </a:r>
            <a:r>
              <a:rPr lang="ja-JP" altLang="en-US" dirty="0"/>
              <a:t>データ</a:t>
            </a:r>
            <a:r>
              <a:rPr lang="ja-JP" altLang="en-US" dirty="0" smtClean="0"/>
              <a:t>の作成 </a:t>
            </a:r>
            <a:r>
              <a:rPr lang="en-US" altLang="ja-JP" dirty="0" smtClean="0"/>
              <a:t>- (1)</a:t>
            </a:r>
            <a:r>
              <a:rPr kumimoji="1" lang="ja-JP" altLang="en-US" dirty="0" smtClean="0"/>
              <a:t>テキストデータを単語リストに変換</a:t>
            </a:r>
            <a:endParaRPr kumimoji="1" lang="ja-JP" altLang="en-US" dirty="0"/>
          </a:p>
        </p:txBody>
      </p:sp>
      <p:pic>
        <p:nvPicPr>
          <p:cNvPr id="5" name="図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12" y="320403"/>
            <a:ext cx="1600376" cy="228625"/>
          </a:xfrm>
          <a:prstGeom prst="rect">
            <a:avLst/>
          </a:prstGeom>
        </p:spPr>
      </p:pic>
      <p:sp>
        <p:nvSpPr>
          <p:cNvPr id="7" name="テキスト プレースホルダー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右矢印 8"/>
          <p:cNvSpPr/>
          <p:nvPr/>
        </p:nvSpPr>
        <p:spPr>
          <a:xfrm>
            <a:off x="4907780" y="3059901"/>
            <a:ext cx="1800200" cy="720080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3" name="テキスト ボックス 12"/>
          <p:cNvSpPr txBox="1"/>
          <p:nvPr/>
        </p:nvSpPr>
        <p:spPr>
          <a:xfrm>
            <a:off x="407193" y="2889026"/>
            <a:ext cx="4176464" cy="10618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en-US" altLang="ja-JP" sz="1600" dirty="0" smtClean="0"/>
              <a:t>“Alice </a:t>
            </a:r>
            <a:r>
              <a:rPr lang="en-US" altLang="ja-JP" sz="1600" dirty="0"/>
              <a:t>was beginning to get very tired of sitting by her sister on the bank, and of having nothing to do</a:t>
            </a:r>
            <a:r>
              <a:rPr lang="en-US" altLang="ja-JP" sz="1600" dirty="0" smtClean="0"/>
              <a:t>:”</a:t>
            </a:r>
            <a:endParaRPr kumimoji="1" lang="en-US" altLang="ja-JP" sz="1600" dirty="0"/>
          </a:p>
          <a:p>
            <a:pPr marL="180000" indent="-18000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noProof="0" dirty="0" err="1" smtClean="0"/>
          </a:p>
        </p:txBody>
      </p:sp>
      <p:graphicFrame>
        <p:nvGraphicFramePr>
          <p:cNvPr id="14" name="表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7474431"/>
              </p:ext>
            </p:extLst>
          </p:nvPr>
        </p:nvGraphicFramePr>
        <p:xfrm>
          <a:off x="7032104" y="1753559"/>
          <a:ext cx="1831752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31752">
                  <a:extLst>
                    <a:ext uri="{9D8B030D-6E8A-4147-A177-3AD203B41FA5}">
                      <a16:colId xmlns:a16="http://schemas.microsoft.com/office/drawing/2014/main" val="131311652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kumimoji="1" lang="ja-JP" altLang="en-US" dirty="0" smtClean="0"/>
                        <a:t>単語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80039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Alice”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08285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was”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89840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beginning”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398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to”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17012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get”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18721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very”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08616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tired”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78240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(</a:t>
                      </a:r>
                      <a:r>
                        <a:rPr kumimoji="1" lang="ja-JP" altLang="en-US" dirty="0" smtClean="0"/>
                        <a:t>以下省略</a:t>
                      </a:r>
                      <a:r>
                        <a:rPr kumimoji="1" lang="en-US" altLang="ja-JP" dirty="0" smtClean="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8161035"/>
                  </a:ext>
                </a:extLst>
              </a:tr>
            </a:tbl>
          </a:graphicData>
        </a:graphic>
      </p:graphicFrame>
      <p:sp>
        <p:nvSpPr>
          <p:cNvPr id="8" name="テキスト ボックス 7"/>
          <p:cNvSpPr txBox="1"/>
          <p:nvPr/>
        </p:nvSpPr>
        <p:spPr>
          <a:xfrm>
            <a:off x="7032104" y="1502542"/>
            <a:ext cx="1512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ja-JP" altLang="en-US" sz="1600" noProof="0" dirty="0" smtClean="0"/>
              <a:t>単語のリスト</a:t>
            </a:r>
          </a:p>
        </p:txBody>
      </p:sp>
      <p:sp>
        <p:nvSpPr>
          <p:cNvPr id="10" name="テキスト ボックス 9"/>
          <p:cNvSpPr txBox="1"/>
          <p:nvPr/>
        </p:nvSpPr>
        <p:spPr>
          <a:xfrm>
            <a:off x="407193" y="2642805"/>
            <a:ext cx="1512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ja-JP" altLang="en-US" sz="1600" noProof="0" dirty="0" smtClean="0"/>
              <a:t>テキストデータ</a:t>
            </a:r>
          </a:p>
        </p:txBody>
      </p:sp>
    </p:spTree>
    <p:extLst>
      <p:ext uri="{BB962C8B-B14F-4D97-AF65-F5344CB8AC3E}">
        <p14:creationId xmlns:p14="http://schemas.microsoft.com/office/powerpoint/2010/main" val="19321880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学習データの</a:t>
            </a:r>
            <a:r>
              <a:rPr lang="ja-JP" altLang="en-US" dirty="0" smtClean="0"/>
              <a:t>作成 </a:t>
            </a:r>
            <a:r>
              <a:rPr lang="en-US" altLang="ja-JP" dirty="0" smtClean="0"/>
              <a:t>- (2)</a:t>
            </a:r>
            <a:r>
              <a:rPr kumimoji="1" lang="ja-JP" altLang="en-US" dirty="0" smtClean="0"/>
              <a:t>単語リストを</a:t>
            </a:r>
            <a:r>
              <a:rPr kumimoji="1" lang="en-US" altLang="ja-JP" dirty="0" smtClean="0"/>
              <a:t>Vocabulary</a:t>
            </a:r>
            <a:r>
              <a:rPr kumimoji="1" lang="ja-JP" altLang="en-US" dirty="0" smtClean="0"/>
              <a:t>と</a:t>
            </a:r>
            <a:r>
              <a:rPr kumimoji="1" lang="en-US" altLang="ja-JP" dirty="0" smtClean="0"/>
              <a:t>Corpus</a:t>
            </a:r>
            <a:r>
              <a:rPr kumimoji="1" lang="ja-JP" altLang="en-US" dirty="0" smtClean="0"/>
              <a:t>に変換</a:t>
            </a:r>
            <a:endParaRPr kumimoji="1" lang="ja-JP" altLang="en-US" dirty="0"/>
          </a:p>
        </p:txBody>
      </p:sp>
      <p:pic>
        <p:nvPicPr>
          <p:cNvPr id="5" name="図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12" y="320403"/>
            <a:ext cx="1600376" cy="228625"/>
          </a:xfrm>
          <a:prstGeom prst="rect">
            <a:avLst/>
          </a:prstGeom>
        </p:spPr>
      </p:pic>
      <p:sp>
        <p:nvSpPr>
          <p:cNvPr id="7" name="テキスト プレースホルダー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graphicFrame>
        <p:nvGraphicFramePr>
          <p:cNvPr id="11" name="表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375271"/>
              </p:ext>
            </p:extLst>
          </p:nvPr>
        </p:nvGraphicFramePr>
        <p:xfrm>
          <a:off x="408167" y="1751161"/>
          <a:ext cx="1831752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31752">
                  <a:extLst>
                    <a:ext uri="{9D8B030D-6E8A-4147-A177-3AD203B41FA5}">
                      <a16:colId xmlns:a16="http://schemas.microsoft.com/office/drawing/2014/main" val="131311652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kumimoji="1" lang="ja-JP" altLang="en-US" dirty="0" smtClean="0"/>
                        <a:t>単語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80039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Alice”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08285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was”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89840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beginning”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398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to”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17012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get”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18721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very”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08616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tired”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78240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(</a:t>
                      </a:r>
                      <a:r>
                        <a:rPr kumimoji="1" lang="ja-JP" altLang="en-US" dirty="0" smtClean="0"/>
                        <a:t>以下省略</a:t>
                      </a:r>
                      <a:r>
                        <a:rPr kumimoji="1" lang="en-US" altLang="ja-JP" dirty="0" smtClean="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8161035"/>
                  </a:ext>
                </a:extLst>
              </a:tr>
            </a:tbl>
          </a:graphicData>
        </a:graphic>
      </p:graphicFrame>
      <p:sp>
        <p:nvSpPr>
          <p:cNvPr id="9" name="右矢印 8"/>
          <p:cNvSpPr/>
          <p:nvPr/>
        </p:nvSpPr>
        <p:spPr>
          <a:xfrm>
            <a:off x="2781358" y="2339821"/>
            <a:ext cx="1800200" cy="720080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10" name="表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3416796"/>
              </p:ext>
            </p:extLst>
          </p:nvPr>
        </p:nvGraphicFramePr>
        <p:xfrm>
          <a:off x="5122997" y="1059097"/>
          <a:ext cx="1944216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56">
                  <a:extLst>
                    <a:ext uri="{9D8B030D-6E8A-4147-A177-3AD203B41FA5}">
                      <a16:colId xmlns:a16="http://schemas.microsoft.com/office/drawing/2014/main" val="4263842682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val="131311652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ID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 smtClean="0"/>
                        <a:t>単語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80039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0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,”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08285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:”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89840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2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Alice”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398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3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and”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17012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4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bank”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18721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5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beginning”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08616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by”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78240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kumimoji="1" lang="en-US" altLang="ja-JP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(</a:t>
                      </a:r>
                      <a:r>
                        <a:rPr kumimoji="1" lang="ja-JP" altLang="en-US" dirty="0" smtClean="0"/>
                        <a:t>以下省略</a:t>
                      </a:r>
                      <a:r>
                        <a:rPr kumimoji="1" lang="en-US" altLang="ja-JP" dirty="0" smtClean="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8161035"/>
                  </a:ext>
                </a:extLst>
              </a:tr>
            </a:tbl>
          </a:graphicData>
        </a:graphic>
      </p:graphicFrame>
      <p:graphicFrame>
        <p:nvGraphicFramePr>
          <p:cNvPr id="13" name="表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8809473"/>
              </p:ext>
            </p:extLst>
          </p:nvPr>
        </p:nvGraphicFramePr>
        <p:xfrm>
          <a:off x="9829686" y="1756241"/>
          <a:ext cx="1296144" cy="3332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6144">
                  <a:extLst>
                    <a:ext uri="{9D8B030D-6E8A-4147-A177-3AD203B41FA5}">
                      <a16:colId xmlns:a16="http://schemas.microsoft.com/office/drawing/2014/main" val="131311652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ID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80039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2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0828569"/>
                  </a:ext>
                </a:extLst>
              </a:tr>
              <a:tr h="202237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20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89840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5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398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7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17012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8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18721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9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08616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78240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(</a:t>
                      </a:r>
                      <a:r>
                        <a:rPr kumimoji="1" lang="ja-JP" altLang="en-US" dirty="0" smtClean="0"/>
                        <a:t>以下省略</a:t>
                      </a:r>
                      <a:r>
                        <a:rPr kumimoji="1" lang="en-US" altLang="ja-JP" dirty="0" smtClean="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8161035"/>
                  </a:ext>
                </a:extLst>
              </a:tr>
            </a:tbl>
          </a:graphicData>
        </a:graphic>
      </p:graphicFrame>
      <p:sp>
        <p:nvSpPr>
          <p:cNvPr id="3" name="テキスト ボックス 2"/>
          <p:cNvSpPr txBox="1"/>
          <p:nvPr/>
        </p:nvSpPr>
        <p:spPr>
          <a:xfrm>
            <a:off x="471409" y="1504940"/>
            <a:ext cx="1512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ja-JP" altLang="en-US" sz="1600" noProof="0" dirty="0" smtClean="0"/>
              <a:t>単語のリスト</a:t>
            </a:r>
          </a:p>
        </p:txBody>
      </p:sp>
      <p:sp>
        <p:nvSpPr>
          <p:cNvPr id="14" name="テキスト ボックス 13"/>
          <p:cNvSpPr txBox="1"/>
          <p:nvPr/>
        </p:nvSpPr>
        <p:spPr>
          <a:xfrm>
            <a:off x="5122997" y="806515"/>
            <a:ext cx="1512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600" noProof="0" dirty="0" smtClean="0"/>
              <a:t>Vocabulary</a:t>
            </a:r>
            <a:endParaRPr kumimoji="1" lang="ja-JP" altLang="en-US" sz="1600" noProof="0" dirty="0" smtClean="0"/>
          </a:p>
        </p:txBody>
      </p:sp>
      <p:sp>
        <p:nvSpPr>
          <p:cNvPr id="15" name="テキスト ボックス 14"/>
          <p:cNvSpPr txBox="1"/>
          <p:nvPr/>
        </p:nvSpPr>
        <p:spPr>
          <a:xfrm>
            <a:off x="9877799" y="1504940"/>
            <a:ext cx="1512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600" noProof="0" dirty="0" smtClean="0"/>
              <a:t>Corpus</a:t>
            </a:r>
            <a:endParaRPr kumimoji="1" lang="ja-JP" altLang="en-US" sz="1600" noProof="0" dirty="0" smtClean="0"/>
          </a:p>
        </p:txBody>
      </p:sp>
      <p:sp>
        <p:nvSpPr>
          <p:cNvPr id="16" name="右矢印 15"/>
          <p:cNvSpPr/>
          <p:nvPr/>
        </p:nvSpPr>
        <p:spPr>
          <a:xfrm>
            <a:off x="2781358" y="4429545"/>
            <a:ext cx="6588497" cy="720080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右矢印 16"/>
          <p:cNvSpPr/>
          <p:nvPr/>
        </p:nvSpPr>
        <p:spPr>
          <a:xfrm>
            <a:off x="7569655" y="2367837"/>
            <a:ext cx="1800200" cy="720080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5303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4" grpId="0"/>
      <p:bldP spid="15" grpId="0"/>
      <p:bldP spid="16" grpId="0" animBg="1"/>
      <p:bldP spid="1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表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723088"/>
              </p:ext>
            </p:extLst>
          </p:nvPr>
        </p:nvGraphicFramePr>
        <p:xfrm>
          <a:off x="407193" y="1304037"/>
          <a:ext cx="1296144" cy="3332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6144">
                  <a:extLst>
                    <a:ext uri="{9D8B030D-6E8A-4147-A177-3AD203B41FA5}">
                      <a16:colId xmlns:a16="http://schemas.microsoft.com/office/drawing/2014/main" val="131311652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ID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80039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2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0828569"/>
                  </a:ext>
                </a:extLst>
              </a:tr>
              <a:tr h="202237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20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89840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5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398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7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17012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8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18721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9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08616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78240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(</a:t>
                      </a:r>
                      <a:r>
                        <a:rPr kumimoji="1" lang="ja-JP" altLang="en-US" dirty="0" smtClean="0"/>
                        <a:t>以下省略</a:t>
                      </a:r>
                      <a:r>
                        <a:rPr kumimoji="1" lang="en-US" altLang="ja-JP" dirty="0" smtClean="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8161035"/>
                  </a:ext>
                </a:extLst>
              </a:tr>
            </a:tbl>
          </a:graphicData>
        </a:graphic>
      </p:graphicFrame>
      <p:graphicFrame>
        <p:nvGraphicFramePr>
          <p:cNvPr id="10" name="表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1412169"/>
              </p:ext>
            </p:extLst>
          </p:nvPr>
        </p:nvGraphicFramePr>
        <p:xfrm>
          <a:off x="3905243" y="1301497"/>
          <a:ext cx="3709309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2451">
                  <a:extLst>
                    <a:ext uri="{9D8B030D-6E8A-4147-A177-3AD203B41FA5}">
                      <a16:colId xmlns:a16="http://schemas.microsoft.com/office/drawing/2014/main" val="4263842682"/>
                    </a:ext>
                  </a:extLst>
                </a:gridCol>
                <a:gridCol w="1578429">
                  <a:extLst>
                    <a:ext uri="{9D8B030D-6E8A-4147-A177-3AD203B41FA5}">
                      <a16:colId xmlns:a16="http://schemas.microsoft.com/office/drawing/2014/main" val="1313116525"/>
                    </a:ext>
                  </a:extLst>
                </a:gridCol>
                <a:gridCol w="1578429">
                  <a:extLst>
                    <a:ext uri="{9D8B030D-6E8A-4147-A177-3AD203B41FA5}">
                      <a16:colId xmlns:a16="http://schemas.microsoft.com/office/drawing/2014/main" val="23684376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ID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 smtClean="0"/>
                        <a:t>前の単語の</a:t>
                      </a:r>
                      <a:r>
                        <a:rPr kumimoji="1" lang="en-US" altLang="ja-JP" dirty="0" smtClean="0"/>
                        <a:t>ID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 smtClean="0"/>
                        <a:t>後の単語の</a:t>
                      </a:r>
                      <a:r>
                        <a:rPr kumimoji="1" lang="en-US" altLang="ja-JP" dirty="0" smtClean="0"/>
                        <a:t>ID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80039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20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2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5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08285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5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20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7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89840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7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5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8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398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8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7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9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17012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9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8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6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18721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6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9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2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08616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78240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kumimoji="1" lang="en-US" altLang="ja-JP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(</a:t>
                      </a:r>
                      <a:r>
                        <a:rPr kumimoji="1" lang="ja-JP" altLang="en-US" dirty="0" smtClean="0"/>
                        <a:t>以下省略</a:t>
                      </a:r>
                      <a:r>
                        <a:rPr kumimoji="1" lang="en-US" altLang="ja-JP" dirty="0" smtClean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en-US" altLang="ja-JP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8161035"/>
                  </a:ext>
                </a:extLst>
              </a:tr>
            </a:tbl>
          </a:graphicData>
        </a:graphic>
      </p:graphicFrame>
      <p:sp>
        <p:nvSpPr>
          <p:cNvPr id="12" name="正方形/長方形 11"/>
          <p:cNvSpPr/>
          <p:nvPr/>
        </p:nvSpPr>
        <p:spPr>
          <a:xfrm>
            <a:off x="4446373" y="1688068"/>
            <a:ext cx="431873" cy="372780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6" name="正方形/長方形 15"/>
          <p:cNvSpPr/>
          <p:nvPr/>
        </p:nvSpPr>
        <p:spPr>
          <a:xfrm>
            <a:off x="399719" y="1653808"/>
            <a:ext cx="431873" cy="372780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正方形/長方形 16"/>
          <p:cNvSpPr/>
          <p:nvPr/>
        </p:nvSpPr>
        <p:spPr>
          <a:xfrm>
            <a:off x="399718" y="2037838"/>
            <a:ext cx="431873" cy="372780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9" name="正方形/長方形 18"/>
          <p:cNvSpPr/>
          <p:nvPr/>
        </p:nvSpPr>
        <p:spPr>
          <a:xfrm>
            <a:off x="392109" y="2410618"/>
            <a:ext cx="431873" cy="372780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20" name="正方形/長方形 19"/>
          <p:cNvSpPr/>
          <p:nvPr/>
        </p:nvSpPr>
        <p:spPr>
          <a:xfrm>
            <a:off x="6048765" y="1658434"/>
            <a:ext cx="431873" cy="372780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21" name="正方形/長方形 20"/>
          <p:cNvSpPr/>
          <p:nvPr/>
        </p:nvSpPr>
        <p:spPr>
          <a:xfrm>
            <a:off x="3923532" y="1688068"/>
            <a:ext cx="431873" cy="372780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学習データの</a:t>
            </a:r>
            <a:r>
              <a:rPr lang="ja-JP" altLang="en-US" dirty="0" smtClean="0"/>
              <a:t>作成 </a:t>
            </a:r>
            <a:r>
              <a:rPr lang="en-US" altLang="ja-JP" dirty="0" smtClean="0"/>
              <a:t>- (3)</a:t>
            </a:r>
            <a:r>
              <a:rPr kumimoji="1" lang="en-US" altLang="ja-JP" dirty="0" smtClean="0"/>
              <a:t>Corpus</a:t>
            </a:r>
            <a:r>
              <a:rPr kumimoji="1" lang="ja-JP" altLang="en-US" dirty="0" smtClean="0"/>
              <a:t>を学習データに変換</a:t>
            </a:r>
            <a:endParaRPr kumimoji="1" lang="ja-JP" altLang="en-US" dirty="0"/>
          </a:p>
        </p:txBody>
      </p:sp>
      <p:pic>
        <p:nvPicPr>
          <p:cNvPr id="5" name="図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12" y="320403"/>
            <a:ext cx="1600376" cy="228625"/>
          </a:xfrm>
          <a:prstGeom prst="rect">
            <a:avLst/>
          </a:prstGeom>
        </p:spPr>
      </p:pic>
      <p:sp>
        <p:nvSpPr>
          <p:cNvPr id="7" name="テキスト プレースホルダー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右矢印 8"/>
          <p:cNvSpPr/>
          <p:nvPr/>
        </p:nvSpPr>
        <p:spPr>
          <a:xfrm>
            <a:off x="1904190" y="2629837"/>
            <a:ext cx="1800200" cy="720080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4" name="テキスト ボックス 13"/>
          <p:cNvSpPr txBox="1"/>
          <p:nvPr/>
        </p:nvSpPr>
        <p:spPr>
          <a:xfrm>
            <a:off x="3905243" y="1052736"/>
            <a:ext cx="1512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ja-JP" altLang="en-US" sz="1600" dirty="0" smtClean="0"/>
              <a:t>学習データ</a:t>
            </a:r>
            <a:endParaRPr kumimoji="1" lang="ja-JP" altLang="en-US" sz="1600" noProof="0" dirty="0" smtClean="0"/>
          </a:p>
        </p:txBody>
      </p:sp>
      <p:sp>
        <p:nvSpPr>
          <p:cNvPr id="15" name="テキスト ボックス 14"/>
          <p:cNvSpPr txBox="1"/>
          <p:nvPr/>
        </p:nvSpPr>
        <p:spPr>
          <a:xfrm>
            <a:off x="407193" y="1052736"/>
            <a:ext cx="1512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600" noProof="0" dirty="0" smtClean="0"/>
              <a:t>Corpus</a:t>
            </a:r>
            <a:endParaRPr kumimoji="1" lang="ja-JP" altLang="en-US" sz="1600" noProof="0" dirty="0" smtClean="0"/>
          </a:p>
        </p:txBody>
      </p:sp>
      <p:cxnSp>
        <p:nvCxnSpPr>
          <p:cNvPr id="4" name="直線矢印コネクタ 3"/>
          <p:cNvCxnSpPr>
            <a:stCxn id="17" idx="3"/>
            <a:endCxn id="21" idx="1"/>
          </p:cNvCxnSpPr>
          <p:nvPr/>
        </p:nvCxnSpPr>
        <p:spPr>
          <a:xfrm flipV="1">
            <a:off x="831591" y="1874458"/>
            <a:ext cx="3091941" cy="34977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線矢印コネクタ 23"/>
          <p:cNvCxnSpPr>
            <a:stCxn id="16" idx="0"/>
            <a:endCxn id="12" idx="0"/>
          </p:cNvCxnSpPr>
          <p:nvPr/>
        </p:nvCxnSpPr>
        <p:spPr>
          <a:xfrm rot="16200000" flipH="1">
            <a:off x="2621853" y="-352389"/>
            <a:ext cx="34260" cy="4046654"/>
          </a:xfrm>
          <a:prstGeom prst="curvedConnector3">
            <a:avLst>
              <a:gd name="adj1" fmla="val -667250"/>
            </a:avLst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線矢印コネクタ 23"/>
          <p:cNvCxnSpPr>
            <a:stCxn id="19" idx="2"/>
            <a:endCxn id="20" idx="2"/>
          </p:cNvCxnSpPr>
          <p:nvPr/>
        </p:nvCxnSpPr>
        <p:spPr>
          <a:xfrm rot="5400000" flipH="1" flipV="1">
            <a:off x="3060282" y="-421022"/>
            <a:ext cx="752184" cy="5656656"/>
          </a:xfrm>
          <a:prstGeom prst="curvedConnector3">
            <a:avLst>
              <a:gd name="adj1" fmla="val -30391"/>
            </a:avLst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9579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6" grpId="0" animBg="1"/>
      <p:bldP spid="17" grpId="0" animBg="1"/>
      <p:bldP spid="19" grpId="0" animBg="1"/>
      <p:bldP spid="20" grpId="0" animBg="1"/>
      <p:bldP spid="2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角丸四角形 139"/>
          <p:cNvSpPr/>
          <p:nvPr/>
        </p:nvSpPr>
        <p:spPr>
          <a:xfrm>
            <a:off x="5111757" y="3568577"/>
            <a:ext cx="504056" cy="262481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253" name="フリーフォーム 252"/>
          <p:cNvSpPr/>
          <p:nvPr/>
        </p:nvSpPr>
        <p:spPr>
          <a:xfrm>
            <a:off x="5418481" y="3676828"/>
            <a:ext cx="727596" cy="2424501"/>
          </a:xfrm>
          <a:custGeom>
            <a:avLst/>
            <a:gdLst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76362 w 1376362"/>
              <a:gd name="connsiteY3" fmla="*/ 447675 h 2162175"/>
              <a:gd name="connsiteX4" fmla="*/ 9525 w 1376362"/>
              <a:gd name="connsiteY4" fmla="*/ 0 h 2162175"/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66780 w 1376362"/>
              <a:gd name="connsiteY3" fmla="*/ 471318 h 2162175"/>
              <a:gd name="connsiteX4" fmla="*/ 9525 w 1376362"/>
              <a:gd name="connsiteY4" fmla="*/ 0 h 2162175"/>
              <a:gd name="connsiteX0" fmla="*/ 9525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9525 w 1371571"/>
              <a:gd name="connsiteY4" fmla="*/ 0 h 2162175"/>
              <a:gd name="connsiteX0" fmla="*/ 2339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2339 w 1371571"/>
              <a:gd name="connsiteY4" fmla="*/ 0 h 2162175"/>
              <a:gd name="connsiteX0" fmla="*/ 102 w 1369334"/>
              <a:gd name="connsiteY0" fmla="*/ 0 h 2066925"/>
              <a:gd name="connsiteX1" fmla="*/ 2555 w 1369334"/>
              <a:gd name="connsiteY1" fmla="*/ 1625471 h 2066925"/>
              <a:gd name="connsiteX2" fmla="*/ 1369334 w 1369334"/>
              <a:gd name="connsiteY2" fmla="*/ 2066925 h 2066925"/>
              <a:gd name="connsiteX3" fmla="*/ 1364543 w 1369334"/>
              <a:gd name="connsiteY3" fmla="*/ 471318 h 2066925"/>
              <a:gd name="connsiteX4" fmla="*/ 102 w 1369334"/>
              <a:gd name="connsiteY4" fmla="*/ 0 h 2066925"/>
              <a:gd name="connsiteX0" fmla="*/ 102 w 2317967"/>
              <a:gd name="connsiteY0" fmla="*/ 1614024 h 3680949"/>
              <a:gd name="connsiteX1" fmla="*/ 2555 w 2317967"/>
              <a:gd name="connsiteY1" fmla="*/ 3239495 h 3680949"/>
              <a:gd name="connsiteX2" fmla="*/ 1369334 w 2317967"/>
              <a:gd name="connsiteY2" fmla="*/ 3680949 h 3680949"/>
              <a:gd name="connsiteX3" fmla="*/ 2317967 w 2317967"/>
              <a:gd name="connsiteY3" fmla="*/ 0 h 3680949"/>
              <a:gd name="connsiteX4" fmla="*/ 102 w 2317967"/>
              <a:gd name="connsiteY4" fmla="*/ 1614024 h 3680949"/>
              <a:gd name="connsiteX0" fmla="*/ 102 w 2317967"/>
              <a:gd name="connsiteY0" fmla="*/ 1614024 h 3239495"/>
              <a:gd name="connsiteX1" fmla="*/ 2555 w 2317967"/>
              <a:gd name="connsiteY1" fmla="*/ 3239495 h 3239495"/>
              <a:gd name="connsiteX2" fmla="*/ 2313175 w 2317967"/>
              <a:gd name="connsiteY2" fmla="*/ 2191419 h 3239495"/>
              <a:gd name="connsiteX3" fmla="*/ 2317967 w 2317967"/>
              <a:gd name="connsiteY3" fmla="*/ 0 h 3239495"/>
              <a:gd name="connsiteX4" fmla="*/ 102 w 2317967"/>
              <a:gd name="connsiteY4" fmla="*/ 1614024 h 3239495"/>
              <a:gd name="connsiteX0" fmla="*/ 102 w 2319894"/>
              <a:gd name="connsiteY0" fmla="*/ 1614024 h 3239495"/>
              <a:gd name="connsiteX1" fmla="*/ 2555 w 2319894"/>
              <a:gd name="connsiteY1" fmla="*/ 3239495 h 3239495"/>
              <a:gd name="connsiteX2" fmla="*/ 2319564 w 2319894"/>
              <a:gd name="connsiteY2" fmla="*/ 2308059 h 3239495"/>
              <a:gd name="connsiteX3" fmla="*/ 2317967 w 2319894"/>
              <a:gd name="connsiteY3" fmla="*/ 0 h 3239495"/>
              <a:gd name="connsiteX4" fmla="*/ 102 w 2319894"/>
              <a:gd name="connsiteY4" fmla="*/ 1614024 h 3239495"/>
              <a:gd name="connsiteX0" fmla="*/ 102 w 2319894"/>
              <a:gd name="connsiteY0" fmla="*/ 1746427 h 3371898"/>
              <a:gd name="connsiteX1" fmla="*/ 2555 w 2319894"/>
              <a:gd name="connsiteY1" fmla="*/ 3371898 h 3371898"/>
              <a:gd name="connsiteX2" fmla="*/ 2319564 w 2319894"/>
              <a:gd name="connsiteY2" fmla="*/ 2440462 h 3371898"/>
              <a:gd name="connsiteX3" fmla="*/ 2317968 w 2319894"/>
              <a:gd name="connsiteY3" fmla="*/ 0 h 3371898"/>
              <a:gd name="connsiteX4" fmla="*/ 102 w 2319894"/>
              <a:gd name="connsiteY4" fmla="*/ 1746427 h 3371898"/>
              <a:gd name="connsiteX0" fmla="*/ 102 w 2317968"/>
              <a:gd name="connsiteY0" fmla="*/ 1746427 h 3371898"/>
              <a:gd name="connsiteX1" fmla="*/ 2555 w 2317968"/>
              <a:gd name="connsiteY1" fmla="*/ 3371898 h 3371898"/>
              <a:gd name="connsiteX2" fmla="*/ 2317968 w 2317968"/>
              <a:gd name="connsiteY2" fmla="*/ 0 h 3371898"/>
              <a:gd name="connsiteX3" fmla="*/ 102 w 2317968"/>
              <a:gd name="connsiteY3" fmla="*/ 1746427 h 3371898"/>
              <a:gd name="connsiteX0" fmla="*/ 0 w 3033334"/>
              <a:gd name="connsiteY0" fmla="*/ 0 h 3970890"/>
              <a:gd name="connsiteX1" fmla="*/ 717921 w 3033334"/>
              <a:gd name="connsiteY1" fmla="*/ 3970890 h 3970890"/>
              <a:gd name="connsiteX2" fmla="*/ 3033334 w 3033334"/>
              <a:gd name="connsiteY2" fmla="*/ 598992 h 3970890"/>
              <a:gd name="connsiteX3" fmla="*/ 0 w 3033334"/>
              <a:gd name="connsiteY3" fmla="*/ 0 h 3970890"/>
              <a:gd name="connsiteX0" fmla="*/ 16711 w 3050045"/>
              <a:gd name="connsiteY0" fmla="*/ 0 h 2407277"/>
              <a:gd name="connsiteX1" fmla="*/ 0 w 3050045"/>
              <a:gd name="connsiteY1" fmla="*/ 2407277 h 2407277"/>
              <a:gd name="connsiteX2" fmla="*/ 3050045 w 3050045"/>
              <a:gd name="connsiteY2" fmla="*/ 598992 h 2407277"/>
              <a:gd name="connsiteX3" fmla="*/ 16711 w 3050045"/>
              <a:gd name="connsiteY3" fmla="*/ 0 h 2407277"/>
              <a:gd name="connsiteX0" fmla="*/ 16711 w 935583"/>
              <a:gd name="connsiteY0" fmla="*/ 0 h 2407277"/>
              <a:gd name="connsiteX1" fmla="*/ 0 w 935583"/>
              <a:gd name="connsiteY1" fmla="*/ 2407277 h 2407277"/>
              <a:gd name="connsiteX2" fmla="*/ 935583 w 935583"/>
              <a:gd name="connsiteY2" fmla="*/ 1185347 h 2407277"/>
              <a:gd name="connsiteX3" fmla="*/ 16711 w 935583"/>
              <a:gd name="connsiteY3" fmla="*/ 0 h 2407277"/>
              <a:gd name="connsiteX0" fmla="*/ 16711 w 590626"/>
              <a:gd name="connsiteY0" fmla="*/ 0 h 2407277"/>
              <a:gd name="connsiteX1" fmla="*/ 0 w 590626"/>
              <a:gd name="connsiteY1" fmla="*/ 2407277 h 2407277"/>
              <a:gd name="connsiteX2" fmla="*/ 590626 w 590626"/>
              <a:gd name="connsiteY2" fmla="*/ 1191652 h 2407277"/>
              <a:gd name="connsiteX3" fmla="*/ 16711 w 590626"/>
              <a:gd name="connsiteY3" fmla="*/ 0 h 2407277"/>
              <a:gd name="connsiteX0" fmla="*/ 16711 w 724776"/>
              <a:gd name="connsiteY0" fmla="*/ 0 h 2407277"/>
              <a:gd name="connsiteX1" fmla="*/ 0 w 724776"/>
              <a:gd name="connsiteY1" fmla="*/ 2407277 h 2407277"/>
              <a:gd name="connsiteX2" fmla="*/ 724776 w 724776"/>
              <a:gd name="connsiteY2" fmla="*/ 1179042 h 2407277"/>
              <a:gd name="connsiteX3" fmla="*/ 16711 w 724776"/>
              <a:gd name="connsiteY3" fmla="*/ 0 h 2407277"/>
              <a:gd name="connsiteX0" fmla="*/ 16711 w 734358"/>
              <a:gd name="connsiteY0" fmla="*/ 0 h 2407277"/>
              <a:gd name="connsiteX1" fmla="*/ 0 w 734358"/>
              <a:gd name="connsiteY1" fmla="*/ 2407277 h 2407277"/>
              <a:gd name="connsiteX2" fmla="*/ 734358 w 734358"/>
              <a:gd name="connsiteY2" fmla="*/ 1194804 h 2407277"/>
              <a:gd name="connsiteX3" fmla="*/ 16711 w 734358"/>
              <a:gd name="connsiteY3" fmla="*/ 0 h 2407277"/>
              <a:gd name="connsiteX0" fmla="*/ 16711 w 731962"/>
              <a:gd name="connsiteY0" fmla="*/ 0 h 2407277"/>
              <a:gd name="connsiteX1" fmla="*/ 0 w 731962"/>
              <a:gd name="connsiteY1" fmla="*/ 2407277 h 2407277"/>
              <a:gd name="connsiteX2" fmla="*/ 731962 w 731962"/>
              <a:gd name="connsiteY2" fmla="*/ 1211354 h 2407277"/>
              <a:gd name="connsiteX3" fmla="*/ 16711 w 731962"/>
              <a:gd name="connsiteY3" fmla="*/ 0 h 2407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1962" h="2407277">
                <a:moveTo>
                  <a:pt x="16711" y="0"/>
                </a:moveTo>
                <a:cubicBezTo>
                  <a:pt x="15931" y="720725"/>
                  <a:pt x="780" y="1686552"/>
                  <a:pt x="0" y="2407277"/>
                </a:cubicBezTo>
                <a:lnTo>
                  <a:pt x="731962" y="1211354"/>
                </a:lnTo>
                <a:lnTo>
                  <a:pt x="16711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267" name="フリーフォーム 266"/>
          <p:cNvSpPr/>
          <p:nvPr/>
        </p:nvSpPr>
        <p:spPr>
          <a:xfrm flipH="1">
            <a:off x="7065648" y="3698489"/>
            <a:ext cx="534782" cy="2414976"/>
          </a:xfrm>
          <a:custGeom>
            <a:avLst/>
            <a:gdLst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76362 w 1376362"/>
              <a:gd name="connsiteY3" fmla="*/ 447675 h 2162175"/>
              <a:gd name="connsiteX4" fmla="*/ 9525 w 1376362"/>
              <a:gd name="connsiteY4" fmla="*/ 0 h 2162175"/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66780 w 1376362"/>
              <a:gd name="connsiteY3" fmla="*/ 471318 h 2162175"/>
              <a:gd name="connsiteX4" fmla="*/ 9525 w 1376362"/>
              <a:gd name="connsiteY4" fmla="*/ 0 h 2162175"/>
              <a:gd name="connsiteX0" fmla="*/ 9525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9525 w 1371571"/>
              <a:gd name="connsiteY4" fmla="*/ 0 h 2162175"/>
              <a:gd name="connsiteX0" fmla="*/ 2339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2339 w 1371571"/>
              <a:gd name="connsiteY4" fmla="*/ 0 h 2162175"/>
              <a:gd name="connsiteX0" fmla="*/ 102 w 1369334"/>
              <a:gd name="connsiteY0" fmla="*/ 0 h 2066925"/>
              <a:gd name="connsiteX1" fmla="*/ 2555 w 1369334"/>
              <a:gd name="connsiteY1" fmla="*/ 1625471 h 2066925"/>
              <a:gd name="connsiteX2" fmla="*/ 1369334 w 1369334"/>
              <a:gd name="connsiteY2" fmla="*/ 2066925 h 2066925"/>
              <a:gd name="connsiteX3" fmla="*/ 1364543 w 1369334"/>
              <a:gd name="connsiteY3" fmla="*/ 471318 h 2066925"/>
              <a:gd name="connsiteX4" fmla="*/ 102 w 1369334"/>
              <a:gd name="connsiteY4" fmla="*/ 0 h 2066925"/>
              <a:gd name="connsiteX0" fmla="*/ 102 w 2317967"/>
              <a:gd name="connsiteY0" fmla="*/ 1614024 h 3680949"/>
              <a:gd name="connsiteX1" fmla="*/ 2555 w 2317967"/>
              <a:gd name="connsiteY1" fmla="*/ 3239495 h 3680949"/>
              <a:gd name="connsiteX2" fmla="*/ 1369334 w 2317967"/>
              <a:gd name="connsiteY2" fmla="*/ 3680949 h 3680949"/>
              <a:gd name="connsiteX3" fmla="*/ 2317967 w 2317967"/>
              <a:gd name="connsiteY3" fmla="*/ 0 h 3680949"/>
              <a:gd name="connsiteX4" fmla="*/ 102 w 2317967"/>
              <a:gd name="connsiteY4" fmla="*/ 1614024 h 3680949"/>
              <a:gd name="connsiteX0" fmla="*/ 102 w 2317967"/>
              <a:gd name="connsiteY0" fmla="*/ 1614024 h 3239495"/>
              <a:gd name="connsiteX1" fmla="*/ 2555 w 2317967"/>
              <a:gd name="connsiteY1" fmla="*/ 3239495 h 3239495"/>
              <a:gd name="connsiteX2" fmla="*/ 2313175 w 2317967"/>
              <a:gd name="connsiteY2" fmla="*/ 2191419 h 3239495"/>
              <a:gd name="connsiteX3" fmla="*/ 2317967 w 2317967"/>
              <a:gd name="connsiteY3" fmla="*/ 0 h 3239495"/>
              <a:gd name="connsiteX4" fmla="*/ 102 w 2317967"/>
              <a:gd name="connsiteY4" fmla="*/ 1614024 h 3239495"/>
              <a:gd name="connsiteX0" fmla="*/ 102 w 2319894"/>
              <a:gd name="connsiteY0" fmla="*/ 1614024 h 3239495"/>
              <a:gd name="connsiteX1" fmla="*/ 2555 w 2319894"/>
              <a:gd name="connsiteY1" fmla="*/ 3239495 h 3239495"/>
              <a:gd name="connsiteX2" fmla="*/ 2319564 w 2319894"/>
              <a:gd name="connsiteY2" fmla="*/ 2308059 h 3239495"/>
              <a:gd name="connsiteX3" fmla="*/ 2317967 w 2319894"/>
              <a:gd name="connsiteY3" fmla="*/ 0 h 3239495"/>
              <a:gd name="connsiteX4" fmla="*/ 102 w 2319894"/>
              <a:gd name="connsiteY4" fmla="*/ 1614024 h 3239495"/>
              <a:gd name="connsiteX0" fmla="*/ 102 w 2319894"/>
              <a:gd name="connsiteY0" fmla="*/ 1746427 h 3371898"/>
              <a:gd name="connsiteX1" fmla="*/ 2555 w 2319894"/>
              <a:gd name="connsiteY1" fmla="*/ 3371898 h 3371898"/>
              <a:gd name="connsiteX2" fmla="*/ 2319564 w 2319894"/>
              <a:gd name="connsiteY2" fmla="*/ 2440462 h 3371898"/>
              <a:gd name="connsiteX3" fmla="*/ 2317968 w 2319894"/>
              <a:gd name="connsiteY3" fmla="*/ 0 h 3371898"/>
              <a:gd name="connsiteX4" fmla="*/ 102 w 2319894"/>
              <a:gd name="connsiteY4" fmla="*/ 1746427 h 3371898"/>
              <a:gd name="connsiteX0" fmla="*/ 102 w 2317968"/>
              <a:gd name="connsiteY0" fmla="*/ 1746427 h 3371898"/>
              <a:gd name="connsiteX1" fmla="*/ 2555 w 2317968"/>
              <a:gd name="connsiteY1" fmla="*/ 3371898 h 3371898"/>
              <a:gd name="connsiteX2" fmla="*/ 2317968 w 2317968"/>
              <a:gd name="connsiteY2" fmla="*/ 0 h 3371898"/>
              <a:gd name="connsiteX3" fmla="*/ 102 w 2317968"/>
              <a:gd name="connsiteY3" fmla="*/ 1746427 h 3371898"/>
              <a:gd name="connsiteX0" fmla="*/ 0 w 3033334"/>
              <a:gd name="connsiteY0" fmla="*/ 0 h 3970890"/>
              <a:gd name="connsiteX1" fmla="*/ 717921 w 3033334"/>
              <a:gd name="connsiteY1" fmla="*/ 3970890 h 3970890"/>
              <a:gd name="connsiteX2" fmla="*/ 3033334 w 3033334"/>
              <a:gd name="connsiteY2" fmla="*/ 598992 h 3970890"/>
              <a:gd name="connsiteX3" fmla="*/ 0 w 3033334"/>
              <a:gd name="connsiteY3" fmla="*/ 0 h 3970890"/>
              <a:gd name="connsiteX0" fmla="*/ 16711 w 3050045"/>
              <a:gd name="connsiteY0" fmla="*/ 0 h 2407277"/>
              <a:gd name="connsiteX1" fmla="*/ 0 w 3050045"/>
              <a:gd name="connsiteY1" fmla="*/ 2407277 h 2407277"/>
              <a:gd name="connsiteX2" fmla="*/ 3050045 w 3050045"/>
              <a:gd name="connsiteY2" fmla="*/ 598992 h 2407277"/>
              <a:gd name="connsiteX3" fmla="*/ 16711 w 3050045"/>
              <a:gd name="connsiteY3" fmla="*/ 0 h 2407277"/>
              <a:gd name="connsiteX0" fmla="*/ 16711 w 935583"/>
              <a:gd name="connsiteY0" fmla="*/ 0 h 2407277"/>
              <a:gd name="connsiteX1" fmla="*/ 0 w 935583"/>
              <a:gd name="connsiteY1" fmla="*/ 2407277 h 2407277"/>
              <a:gd name="connsiteX2" fmla="*/ 935583 w 935583"/>
              <a:gd name="connsiteY2" fmla="*/ 1185347 h 2407277"/>
              <a:gd name="connsiteX3" fmla="*/ 16711 w 935583"/>
              <a:gd name="connsiteY3" fmla="*/ 0 h 2407277"/>
              <a:gd name="connsiteX0" fmla="*/ 16711 w 590626"/>
              <a:gd name="connsiteY0" fmla="*/ 0 h 2407277"/>
              <a:gd name="connsiteX1" fmla="*/ 0 w 590626"/>
              <a:gd name="connsiteY1" fmla="*/ 2407277 h 2407277"/>
              <a:gd name="connsiteX2" fmla="*/ 590626 w 590626"/>
              <a:gd name="connsiteY2" fmla="*/ 1191652 h 2407277"/>
              <a:gd name="connsiteX3" fmla="*/ 16711 w 590626"/>
              <a:gd name="connsiteY3" fmla="*/ 0 h 2407277"/>
              <a:gd name="connsiteX0" fmla="*/ 16711 w 724776"/>
              <a:gd name="connsiteY0" fmla="*/ 0 h 2407277"/>
              <a:gd name="connsiteX1" fmla="*/ 0 w 724776"/>
              <a:gd name="connsiteY1" fmla="*/ 2407277 h 2407277"/>
              <a:gd name="connsiteX2" fmla="*/ 724776 w 724776"/>
              <a:gd name="connsiteY2" fmla="*/ 1179042 h 2407277"/>
              <a:gd name="connsiteX3" fmla="*/ 16711 w 724776"/>
              <a:gd name="connsiteY3" fmla="*/ 0 h 2407277"/>
              <a:gd name="connsiteX0" fmla="*/ 16711 w 734358"/>
              <a:gd name="connsiteY0" fmla="*/ 0 h 2407277"/>
              <a:gd name="connsiteX1" fmla="*/ 0 w 734358"/>
              <a:gd name="connsiteY1" fmla="*/ 2407277 h 2407277"/>
              <a:gd name="connsiteX2" fmla="*/ 734358 w 734358"/>
              <a:gd name="connsiteY2" fmla="*/ 1194804 h 2407277"/>
              <a:gd name="connsiteX3" fmla="*/ 16711 w 734358"/>
              <a:gd name="connsiteY3" fmla="*/ 0 h 2407277"/>
              <a:gd name="connsiteX0" fmla="*/ 3395 w 734358"/>
              <a:gd name="connsiteY0" fmla="*/ 0 h 2397820"/>
              <a:gd name="connsiteX1" fmla="*/ 0 w 734358"/>
              <a:gd name="connsiteY1" fmla="*/ 2397820 h 2397820"/>
              <a:gd name="connsiteX2" fmla="*/ 734358 w 734358"/>
              <a:gd name="connsiteY2" fmla="*/ 1185347 h 2397820"/>
              <a:gd name="connsiteX3" fmla="*/ 3395 w 734358"/>
              <a:gd name="connsiteY3" fmla="*/ 0 h 2397820"/>
              <a:gd name="connsiteX0" fmla="*/ 3395 w 747675"/>
              <a:gd name="connsiteY0" fmla="*/ 0 h 2397820"/>
              <a:gd name="connsiteX1" fmla="*/ 0 w 747675"/>
              <a:gd name="connsiteY1" fmla="*/ 2397820 h 2397820"/>
              <a:gd name="connsiteX2" fmla="*/ 747675 w 747675"/>
              <a:gd name="connsiteY2" fmla="*/ 1207414 h 2397820"/>
              <a:gd name="connsiteX3" fmla="*/ 3395 w 747675"/>
              <a:gd name="connsiteY3" fmla="*/ 0 h 2397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7675" h="2397820">
                <a:moveTo>
                  <a:pt x="3395" y="0"/>
                </a:moveTo>
                <a:cubicBezTo>
                  <a:pt x="2615" y="720725"/>
                  <a:pt x="780" y="1677095"/>
                  <a:pt x="0" y="2397820"/>
                </a:cubicBezTo>
                <a:lnTo>
                  <a:pt x="747675" y="1207414"/>
                </a:lnTo>
                <a:lnTo>
                  <a:pt x="3395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260" name="フリーフォーム 259"/>
          <p:cNvSpPr/>
          <p:nvPr/>
        </p:nvSpPr>
        <p:spPr>
          <a:xfrm flipH="1">
            <a:off x="7066788" y="990254"/>
            <a:ext cx="534782" cy="2414976"/>
          </a:xfrm>
          <a:custGeom>
            <a:avLst/>
            <a:gdLst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76362 w 1376362"/>
              <a:gd name="connsiteY3" fmla="*/ 447675 h 2162175"/>
              <a:gd name="connsiteX4" fmla="*/ 9525 w 1376362"/>
              <a:gd name="connsiteY4" fmla="*/ 0 h 2162175"/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66780 w 1376362"/>
              <a:gd name="connsiteY3" fmla="*/ 471318 h 2162175"/>
              <a:gd name="connsiteX4" fmla="*/ 9525 w 1376362"/>
              <a:gd name="connsiteY4" fmla="*/ 0 h 2162175"/>
              <a:gd name="connsiteX0" fmla="*/ 9525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9525 w 1371571"/>
              <a:gd name="connsiteY4" fmla="*/ 0 h 2162175"/>
              <a:gd name="connsiteX0" fmla="*/ 2339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2339 w 1371571"/>
              <a:gd name="connsiteY4" fmla="*/ 0 h 2162175"/>
              <a:gd name="connsiteX0" fmla="*/ 102 w 1369334"/>
              <a:gd name="connsiteY0" fmla="*/ 0 h 2066925"/>
              <a:gd name="connsiteX1" fmla="*/ 2555 w 1369334"/>
              <a:gd name="connsiteY1" fmla="*/ 1625471 h 2066925"/>
              <a:gd name="connsiteX2" fmla="*/ 1369334 w 1369334"/>
              <a:gd name="connsiteY2" fmla="*/ 2066925 h 2066925"/>
              <a:gd name="connsiteX3" fmla="*/ 1364543 w 1369334"/>
              <a:gd name="connsiteY3" fmla="*/ 471318 h 2066925"/>
              <a:gd name="connsiteX4" fmla="*/ 102 w 1369334"/>
              <a:gd name="connsiteY4" fmla="*/ 0 h 2066925"/>
              <a:gd name="connsiteX0" fmla="*/ 102 w 2317967"/>
              <a:gd name="connsiteY0" fmla="*/ 1614024 h 3680949"/>
              <a:gd name="connsiteX1" fmla="*/ 2555 w 2317967"/>
              <a:gd name="connsiteY1" fmla="*/ 3239495 h 3680949"/>
              <a:gd name="connsiteX2" fmla="*/ 1369334 w 2317967"/>
              <a:gd name="connsiteY2" fmla="*/ 3680949 h 3680949"/>
              <a:gd name="connsiteX3" fmla="*/ 2317967 w 2317967"/>
              <a:gd name="connsiteY3" fmla="*/ 0 h 3680949"/>
              <a:gd name="connsiteX4" fmla="*/ 102 w 2317967"/>
              <a:gd name="connsiteY4" fmla="*/ 1614024 h 3680949"/>
              <a:gd name="connsiteX0" fmla="*/ 102 w 2317967"/>
              <a:gd name="connsiteY0" fmla="*/ 1614024 h 3239495"/>
              <a:gd name="connsiteX1" fmla="*/ 2555 w 2317967"/>
              <a:gd name="connsiteY1" fmla="*/ 3239495 h 3239495"/>
              <a:gd name="connsiteX2" fmla="*/ 2313175 w 2317967"/>
              <a:gd name="connsiteY2" fmla="*/ 2191419 h 3239495"/>
              <a:gd name="connsiteX3" fmla="*/ 2317967 w 2317967"/>
              <a:gd name="connsiteY3" fmla="*/ 0 h 3239495"/>
              <a:gd name="connsiteX4" fmla="*/ 102 w 2317967"/>
              <a:gd name="connsiteY4" fmla="*/ 1614024 h 3239495"/>
              <a:gd name="connsiteX0" fmla="*/ 102 w 2319894"/>
              <a:gd name="connsiteY0" fmla="*/ 1614024 h 3239495"/>
              <a:gd name="connsiteX1" fmla="*/ 2555 w 2319894"/>
              <a:gd name="connsiteY1" fmla="*/ 3239495 h 3239495"/>
              <a:gd name="connsiteX2" fmla="*/ 2319564 w 2319894"/>
              <a:gd name="connsiteY2" fmla="*/ 2308059 h 3239495"/>
              <a:gd name="connsiteX3" fmla="*/ 2317967 w 2319894"/>
              <a:gd name="connsiteY3" fmla="*/ 0 h 3239495"/>
              <a:gd name="connsiteX4" fmla="*/ 102 w 2319894"/>
              <a:gd name="connsiteY4" fmla="*/ 1614024 h 3239495"/>
              <a:gd name="connsiteX0" fmla="*/ 102 w 2319894"/>
              <a:gd name="connsiteY0" fmla="*/ 1746427 h 3371898"/>
              <a:gd name="connsiteX1" fmla="*/ 2555 w 2319894"/>
              <a:gd name="connsiteY1" fmla="*/ 3371898 h 3371898"/>
              <a:gd name="connsiteX2" fmla="*/ 2319564 w 2319894"/>
              <a:gd name="connsiteY2" fmla="*/ 2440462 h 3371898"/>
              <a:gd name="connsiteX3" fmla="*/ 2317968 w 2319894"/>
              <a:gd name="connsiteY3" fmla="*/ 0 h 3371898"/>
              <a:gd name="connsiteX4" fmla="*/ 102 w 2319894"/>
              <a:gd name="connsiteY4" fmla="*/ 1746427 h 3371898"/>
              <a:gd name="connsiteX0" fmla="*/ 102 w 2317968"/>
              <a:gd name="connsiteY0" fmla="*/ 1746427 h 3371898"/>
              <a:gd name="connsiteX1" fmla="*/ 2555 w 2317968"/>
              <a:gd name="connsiteY1" fmla="*/ 3371898 h 3371898"/>
              <a:gd name="connsiteX2" fmla="*/ 2317968 w 2317968"/>
              <a:gd name="connsiteY2" fmla="*/ 0 h 3371898"/>
              <a:gd name="connsiteX3" fmla="*/ 102 w 2317968"/>
              <a:gd name="connsiteY3" fmla="*/ 1746427 h 3371898"/>
              <a:gd name="connsiteX0" fmla="*/ 0 w 3033334"/>
              <a:gd name="connsiteY0" fmla="*/ 0 h 3970890"/>
              <a:gd name="connsiteX1" fmla="*/ 717921 w 3033334"/>
              <a:gd name="connsiteY1" fmla="*/ 3970890 h 3970890"/>
              <a:gd name="connsiteX2" fmla="*/ 3033334 w 3033334"/>
              <a:gd name="connsiteY2" fmla="*/ 598992 h 3970890"/>
              <a:gd name="connsiteX3" fmla="*/ 0 w 3033334"/>
              <a:gd name="connsiteY3" fmla="*/ 0 h 3970890"/>
              <a:gd name="connsiteX0" fmla="*/ 16711 w 3050045"/>
              <a:gd name="connsiteY0" fmla="*/ 0 h 2407277"/>
              <a:gd name="connsiteX1" fmla="*/ 0 w 3050045"/>
              <a:gd name="connsiteY1" fmla="*/ 2407277 h 2407277"/>
              <a:gd name="connsiteX2" fmla="*/ 3050045 w 3050045"/>
              <a:gd name="connsiteY2" fmla="*/ 598992 h 2407277"/>
              <a:gd name="connsiteX3" fmla="*/ 16711 w 3050045"/>
              <a:gd name="connsiteY3" fmla="*/ 0 h 2407277"/>
              <a:gd name="connsiteX0" fmla="*/ 16711 w 935583"/>
              <a:gd name="connsiteY0" fmla="*/ 0 h 2407277"/>
              <a:gd name="connsiteX1" fmla="*/ 0 w 935583"/>
              <a:gd name="connsiteY1" fmla="*/ 2407277 h 2407277"/>
              <a:gd name="connsiteX2" fmla="*/ 935583 w 935583"/>
              <a:gd name="connsiteY2" fmla="*/ 1185347 h 2407277"/>
              <a:gd name="connsiteX3" fmla="*/ 16711 w 935583"/>
              <a:gd name="connsiteY3" fmla="*/ 0 h 2407277"/>
              <a:gd name="connsiteX0" fmla="*/ 16711 w 590626"/>
              <a:gd name="connsiteY0" fmla="*/ 0 h 2407277"/>
              <a:gd name="connsiteX1" fmla="*/ 0 w 590626"/>
              <a:gd name="connsiteY1" fmla="*/ 2407277 h 2407277"/>
              <a:gd name="connsiteX2" fmla="*/ 590626 w 590626"/>
              <a:gd name="connsiteY2" fmla="*/ 1191652 h 2407277"/>
              <a:gd name="connsiteX3" fmla="*/ 16711 w 590626"/>
              <a:gd name="connsiteY3" fmla="*/ 0 h 2407277"/>
              <a:gd name="connsiteX0" fmla="*/ 16711 w 724776"/>
              <a:gd name="connsiteY0" fmla="*/ 0 h 2407277"/>
              <a:gd name="connsiteX1" fmla="*/ 0 w 724776"/>
              <a:gd name="connsiteY1" fmla="*/ 2407277 h 2407277"/>
              <a:gd name="connsiteX2" fmla="*/ 724776 w 724776"/>
              <a:gd name="connsiteY2" fmla="*/ 1179042 h 2407277"/>
              <a:gd name="connsiteX3" fmla="*/ 16711 w 724776"/>
              <a:gd name="connsiteY3" fmla="*/ 0 h 2407277"/>
              <a:gd name="connsiteX0" fmla="*/ 16711 w 734358"/>
              <a:gd name="connsiteY0" fmla="*/ 0 h 2407277"/>
              <a:gd name="connsiteX1" fmla="*/ 0 w 734358"/>
              <a:gd name="connsiteY1" fmla="*/ 2407277 h 2407277"/>
              <a:gd name="connsiteX2" fmla="*/ 734358 w 734358"/>
              <a:gd name="connsiteY2" fmla="*/ 1194804 h 2407277"/>
              <a:gd name="connsiteX3" fmla="*/ 16711 w 734358"/>
              <a:gd name="connsiteY3" fmla="*/ 0 h 2407277"/>
              <a:gd name="connsiteX0" fmla="*/ 3395 w 734358"/>
              <a:gd name="connsiteY0" fmla="*/ 0 h 2397820"/>
              <a:gd name="connsiteX1" fmla="*/ 0 w 734358"/>
              <a:gd name="connsiteY1" fmla="*/ 2397820 h 2397820"/>
              <a:gd name="connsiteX2" fmla="*/ 734358 w 734358"/>
              <a:gd name="connsiteY2" fmla="*/ 1185347 h 2397820"/>
              <a:gd name="connsiteX3" fmla="*/ 3395 w 734358"/>
              <a:gd name="connsiteY3" fmla="*/ 0 h 2397820"/>
              <a:gd name="connsiteX0" fmla="*/ 3395 w 747675"/>
              <a:gd name="connsiteY0" fmla="*/ 0 h 2397820"/>
              <a:gd name="connsiteX1" fmla="*/ 0 w 747675"/>
              <a:gd name="connsiteY1" fmla="*/ 2397820 h 2397820"/>
              <a:gd name="connsiteX2" fmla="*/ 747675 w 747675"/>
              <a:gd name="connsiteY2" fmla="*/ 1207414 h 2397820"/>
              <a:gd name="connsiteX3" fmla="*/ 3395 w 747675"/>
              <a:gd name="connsiteY3" fmla="*/ 0 h 2397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7675" h="2397820">
                <a:moveTo>
                  <a:pt x="3395" y="0"/>
                </a:moveTo>
                <a:cubicBezTo>
                  <a:pt x="2615" y="720725"/>
                  <a:pt x="780" y="1677095"/>
                  <a:pt x="0" y="2397820"/>
                </a:cubicBezTo>
                <a:lnTo>
                  <a:pt x="747675" y="1207414"/>
                </a:lnTo>
                <a:lnTo>
                  <a:pt x="3395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8" name="角丸四角形 17"/>
          <p:cNvSpPr/>
          <p:nvPr/>
        </p:nvSpPr>
        <p:spPr>
          <a:xfrm>
            <a:off x="2567608" y="2494510"/>
            <a:ext cx="504056" cy="208823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230" name="フリーフォーム 229"/>
          <p:cNvSpPr/>
          <p:nvPr/>
        </p:nvSpPr>
        <p:spPr>
          <a:xfrm>
            <a:off x="1268288" y="2290861"/>
            <a:ext cx="1366565" cy="2422120"/>
          </a:xfrm>
          <a:custGeom>
            <a:avLst/>
            <a:gdLst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76362 w 1376362"/>
              <a:gd name="connsiteY3" fmla="*/ 447675 h 2162175"/>
              <a:gd name="connsiteX4" fmla="*/ 9525 w 1376362"/>
              <a:gd name="connsiteY4" fmla="*/ 0 h 2162175"/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66780 w 1376362"/>
              <a:gd name="connsiteY3" fmla="*/ 471318 h 2162175"/>
              <a:gd name="connsiteX4" fmla="*/ 9525 w 1376362"/>
              <a:gd name="connsiteY4" fmla="*/ 0 h 2162175"/>
              <a:gd name="connsiteX0" fmla="*/ 9525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9525 w 1371571"/>
              <a:gd name="connsiteY4" fmla="*/ 0 h 2162175"/>
              <a:gd name="connsiteX0" fmla="*/ 2339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2339 w 1371571"/>
              <a:gd name="connsiteY4" fmla="*/ 0 h 2162175"/>
              <a:gd name="connsiteX0" fmla="*/ 74 w 1375694"/>
              <a:gd name="connsiteY0" fmla="*/ 0 h 2278815"/>
              <a:gd name="connsiteX1" fmla="*/ 4123 w 1375694"/>
              <a:gd name="connsiteY1" fmla="*/ 2278815 h 2278815"/>
              <a:gd name="connsiteX2" fmla="*/ 1375694 w 1375694"/>
              <a:gd name="connsiteY2" fmla="*/ 2183565 h 2278815"/>
              <a:gd name="connsiteX3" fmla="*/ 1370903 w 1375694"/>
              <a:gd name="connsiteY3" fmla="*/ 587958 h 2278815"/>
              <a:gd name="connsiteX4" fmla="*/ 74 w 1375694"/>
              <a:gd name="connsiteY4" fmla="*/ 0 h 2278815"/>
              <a:gd name="connsiteX0" fmla="*/ 37 w 1375657"/>
              <a:gd name="connsiteY0" fmla="*/ 0 h 2404913"/>
              <a:gd name="connsiteX1" fmla="*/ 10474 w 1375657"/>
              <a:gd name="connsiteY1" fmla="*/ 2404913 h 2404913"/>
              <a:gd name="connsiteX2" fmla="*/ 1375657 w 1375657"/>
              <a:gd name="connsiteY2" fmla="*/ 2183565 h 2404913"/>
              <a:gd name="connsiteX3" fmla="*/ 1370866 w 1375657"/>
              <a:gd name="connsiteY3" fmla="*/ 587958 h 2404913"/>
              <a:gd name="connsiteX4" fmla="*/ 37 w 1375657"/>
              <a:gd name="connsiteY4" fmla="*/ 0 h 2404913"/>
              <a:gd name="connsiteX0" fmla="*/ 60 w 1370888"/>
              <a:gd name="connsiteY0" fmla="*/ 0 h 2281968"/>
              <a:gd name="connsiteX1" fmla="*/ 5705 w 1370888"/>
              <a:gd name="connsiteY1" fmla="*/ 2281968 h 2281968"/>
              <a:gd name="connsiteX2" fmla="*/ 1370888 w 1370888"/>
              <a:gd name="connsiteY2" fmla="*/ 2060620 h 2281968"/>
              <a:gd name="connsiteX3" fmla="*/ 1366097 w 1370888"/>
              <a:gd name="connsiteY3" fmla="*/ 465013 h 2281968"/>
              <a:gd name="connsiteX4" fmla="*/ 60 w 1370888"/>
              <a:gd name="connsiteY4" fmla="*/ 0 h 2281968"/>
              <a:gd name="connsiteX0" fmla="*/ 3937 w 1374765"/>
              <a:gd name="connsiteY0" fmla="*/ 0 h 2404913"/>
              <a:gd name="connsiteX1" fmla="*/ 0 w 1374765"/>
              <a:gd name="connsiteY1" fmla="*/ 2404913 h 2404913"/>
              <a:gd name="connsiteX2" fmla="*/ 1374765 w 1374765"/>
              <a:gd name="connsiteY2" fmla="*/ 2060620 h 2404913"/>
              <a:gd name="connsiteX3" fmla="*/ 1369974 w 1374765"/>
              <a:gd name="connsiteY3" fmla="*/ 465013 h 2404913"/>
              <a:gd name="connsiteX4" fmla="*/ 3937 w 1374765"/>
              <a:gd name="connsiteY4" fmla="*/ 0 h 2404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4765" h="2404913">
                <a:moveTo>
                  <a:pt x="3937" y="0"/>
                </a:moveTo>
                <a:cubicBezTo>
                  <a:pt x="3157" y="720725"/>
                  <a:pt x="780" y="1684188"/>
                  <a:pt x="0" y="2404913"/>
                </a:cubicBezTo>
                <a:lnTo>
                  <a:pt x="1374765" y="2060620"/>
                </a:lnTo>
                <a:lnTo>
                  <a:pt x="1369974" y="465013"/>
                </a:lnTo>
                <a:cubicBezTo>
                  <a:pt x="913031" y="269027"/>
                  <a:pt x="460880" y="195986"/>
                  <a:pt x="3937" y="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39" name="角丸四角形 138"/>
          <p:cNvSpPr/>
          <p:nvPr/>
        </p:nvSpPr>
        <p:spPr>
          <a:xfrm>
            <a:off x="5111757" y="902967"/>
            <a:ext cx="504056" cy="262481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学習</a:t>
            </a:r>
            <a:endParaRPr kumimoji="1"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endParaRPr lang="en-US" altLang="ja-JP" dirty="0" smtClean="0"/>
          </a:p>
          <a:p>
            <a:pPr marL="0" indent="0">
              <a:buNone/>
            </a:pPr>
            <a:endParaRPr lang="en-US" altLang="ja-JP" dirty="0"/>
          </a:p>
          <a:p>
            <a:pPr marL="0" indent="0">
              <a:buNone/>
            </a:pPr>
            <a:endParaRPr lang="en-US" altLang="ja-JP" dirty="0" smtClean="0"/>
          </a:p>
          <a:p>
            <a:pPr marL="0" indent="0">
              <a:buNone/>
            </a:pPr>
            <a:endParaRPr lang="en-US" altLang="ja-JP" dirty="0" smtClean="0"/>
          </a:p>
          <a:p>
            <a:pPr marL="0" indent="0">
              <a:buNone/>
            </a:pPr>
            <a:endParaRPr lang="en-US" altLang="ja-JP" dirty="0"/>
          </a:p>
          <a:p>
            <a:pPr marL="0" indent="0">
              <a:buNone/>
            </a:pPr>
            <a:endParaRPr lang="en-US" altLang="ja-JP" dirty="0" smtClean="0"/>
          </a:p>
          <a:p>
            <a:pPr marL="0" indent="0">
              <a:buNone/>
            </a:pPr>
            <a:endParaRPr lang="en-US" altLang="ja-JP" dirty="0"/>
          </a:p>
        </p:txBody>
      </p:sp>
      <p:pic>
        <p:nvPicPr>
          <p:cNvPr id="5" name="図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12" y="320403"/>
            <a:ext cx="1600376" cy="228625"/>
          </a:xfrm>
          <a:prstGeom prst="rect">
            <a:avLst/>
          </a:prstGeom>
        </p:spPr>
      </p:pic>
      <p:sp>
        <p:nvSpPr>
          <p:cNvPr id="7" name="テキスト ボックス 6"/>
          <p:cNvSpPr txBox="1"/>
          <p:nvPr/>
        </p:nvSpPr>
        <p:spPr>
          <a:xfrm>
            <a:off x="394820" y="4771768"/>
            <a:ext cx="2308708" cy="4462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200" noProof="0" dirty="0" smtClean="0"/>
              <a:t>“was”</a:t>
            </a:r>
            <a:r>
              <a:rPr kumimoji="1" lang="ja-JP" altLang="en-US" sz="1200" noProof="0" dirty="0" smtClean="0"/>
              <a:t>の</a:t>
            </a:r>
            <a:r>
              <a:rPr kumimoji="1" lang="en-US" altLang="ja-JP" sz="1200" noProof="0" dirty="0" smtClean="0"/>
              <a:t>ID=20</a:t>
            </a:r>
            <a:r>
              <a:rPr kumimoji="1" lang="ja-JP" altLang="en-US" sz="1200" noProof="0" dirty="0" smtClean="0"/>
              <a:t>を</a:t>
            </a:r>
            <a:endParaRPr kumimoji="1" lang="en-US" altLang="ja-JP" sz="1200" noProof="0" dirty="0" smtClean="0"/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200" noProof="0" dirty="0" smtClean="0"/>
              <a:t>one-hot</a:t>
            </a:r>
            <a:r>
              <a:rPr kumimoji="1" lang="ja-JP" altLang="en-US" sz="1200" noProof="0" dirty="0" smtClean="0"/>
              <a:t>形式表現したもの。</a:t>
            </a:r>
          </a:p>
        </p:txBody>
      </p:sp>
      <p:sp>
        <p:nvSpPr>
          <p:cNvPr id="8" name="テキスト ボックス 7"/>
          <p:cNvSpPr txBox="1"/>
          <p:nvPr/>
        </p:nvSpPr>
        <p:spPr>
          <a:xfrm>
            <a:off x="10098159" y="4615525"/>
            <a:ext cx="1682940" cy="4462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200" noProof="0" dirty="0" smtClean="0"/>
              <a:t>“beginning”</a:t>
            </a:r>
            <a:r>
              <a:rPr kumimoji="1" lang="ja-JP" altLang="en-US" sz="1200" noProof="0" dirty="0" smtClean="0"/>
              <a:t>の</a:t>
            </a:r>
            <a:r>
              <a:rPr kumimoji="1" lang="en-US" altLang="ja-JP" sz="1200" noProof="0" dirty="0" smtClean="0"/>
              <a:t>ID=5</a:t>
            </a:r>
            <a:r>
              <a:rPr kumimoji="1" lang="ja-JP" altLang="en-US" sz="1200" noProof="0" dirty="0" smtClean="0"/>
              <a:t>を</a:t>
            </a:r>
            <a:endParaRPr kumimoji="1" lang="en-US" altLang="ja-JP" sz="1200" noProof="0" dirty="0" smtClean="0"/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200" noProof="0" dirty="0" smtClean="0"/>
              <a:t>one-hot</a:t>
            </a:r>
            <a:r>
              <a:rPr kumimoji="1" lang="ja-JP" altLang="en-US" sz="1200" noProof="0" dirty="0" smtClean="0"/>
              <a:t>形式表現したもの。</a:t>
            </a:r>
          </a:p>
        </p:txBody>
      </p:sp>
      <p:sp>
        <p:nvSpPr>
          <p:cNvPr id="9" name="テキスト ボックス 8"/>
          <p:cNvSpPr txBox="1"/>
          <p:nvPr/>
        </p:nvSpPr>
        <p:spPr>
          <a:xfrm>
            <a:off x="10098159" y="1957198"/>
            <a:ext cx="1682940" cy="4462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200" noProof="0" dirty="0" smtClean="0"/>
              <a:t>“Alice”</a:t>
            </a:r>
            <a:r>
              <a:rPr kumimoji="1" lang="ja-JP" altLang="en-US" sz="1200" noProof="0" dirty="0" smtClean="0"/>
              <a:t>の</a:t>
            </a:r>
            <a:r>
              <a:rPr kumimoji="1" lang="en-US" altLang="ja-JP" sz="1200" noProof="0" dirty="0" smtClean="0"/>
              <a:t>ID=2</a:t>
            </a:r>
            <a:r>
              <a:rPr kumimoji="1" lang="ja-JP" altLang="en-US" sz="1200" noProof="0" dirty="0" smtClean="0"/>
              <a:t>を</a:t>
            </a:r>
            <a:endParaRPr kumimoji="1" lang="en-US" altLang="ja-JP" sz="1200" noProof="0" dirty="0" smtClean="0"/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200" noProof="0" dirty="0" smtClean="0"/>
              <a:t>one-hot</a:t>
            </a:r>
            <a:r>
              <a:rPr kumimoji="1" lang="ja-JP" altLang="en-US" sz="1200" noProof="0" dirty="0" smtClean="0"/>
              <a:t>形式表現したもの。</a:t>
            </a:r>
          </a:p>
        </p:txBody>
      </p:sp>
      <p:sp>
        <p:nvSpPr>
          <p:cNvPr id="13" name="楕円 12"/>
          <p:cNvSpPr/>
          <p:nvPr/>
        </p:nvSpPr>
        <p:spPr>
          <a:xfrm>
            <a:off x="2629270" y="2570095"/>
            <a:ext cx="360040" cy="360040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4" name="楕円 13"/>
          <p:cNvSpPr/>
          <p:nvPr/>
        </p:nvSpPr>
        <p:spPr>
          <a:xfrm>
            <a:off x="2639616" y="2969298"/>
            <a:ext cx="360040" cy="360040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5" name="楕円 14"/>
          <p:cNvSpPr/>
          <p:nvPr/>
        </p:nvSpPr>
        <p:spPr>
          <a:xfrm>
            <a:off x="2629270" y="3369551"/>
            <a:ext cx="360040" cy="360040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6" name="楕円 15"/>
          <p:cNvSpPr/>
          <p:nvPr/>
        </p:nvSpPr>
        <p:spPr>
          <a:xfrm>
            <a:off x="2629270" y="3773508"/>
            <a:ext cx="360040" cy="360040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楕円 16"/>
          <p:cNvSpPr/>
          <p:nvPr/>
        </p:nvSpPr>
        <p:spPr>
          <a:xfrm>
            <a:off x="2639616" y="4177465"/>
            <a:ext cx="360040" cy="360040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9" name="テキスト ボックス 18"/>
          <p:cNvSpPr txBox="1"/>
          <p:nvPr/>
        </p:nvSpPr>
        <p:spPr>
          <a:xfrm>
            <a:off x="1127448" y="2224567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20" name="テキスト ボックス 19"/>
          <p:cNvSpPr txBox="1"/>
          <p:nvPr/>
        </p:nvSpPr>
        <p:spPr>
          <a:xfrm>
            <a:off x="1127448" y="2347678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21" name="テキスト ボックス 20"/>
          <p:cNvSpPr txBox="1"/>
          <p:nvPr/>
        </p:nvSpPr>
        <p:spPr>
          <a:xfrm>
            <a:off x="1127448" y="2470789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22" name="テキスト ボックス 21"/>
          <p:cNvSpPr txBox="1"/>
          <p:nvPr/>
        </p:nvSpPr>
        <p:spPr>
          <a:xfrm>
            <a:off x="1127448" y="2593900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23" name="テキスト ボックス 22"/>
          <p:cNvSpPr txBox="1"/>
          <p:nvPr/>
        </p:nvSpPr>
        <p:spPr>
          <a:xfrm>
            <a:off x="1127448" y="2714580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24" name="テキスト ボックス 23"/>
          <p:cNvSpPr txBox="1"/>
          <p:nvPr/>
        </p:nvSpPr>
        <p:spPr>
          <a:xfrm>
            <a:off x="1127448" y="2835260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25" name="テキスト ボックス 24"/>
          <p:cNvSpPr txBox="1"/>
          <p:nvPr/>
        </p:nvSpPr>
        <p:spPr>
          <a:xfrm>
            <a:off x="1127448" y="2955940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26" name="テキスト ボックス 25"/>
          <p:cNvSpPr txBox="1"/>
          <p:nvPr/>
        </p:nvSpPr>
        <p:spPr>
          <a:xfrm>
            <a:off x="1127448" y="3076532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27" name="テキスト ボックス 26"/>
          <p:cNvSpPr txBox="1"/>
          <p:nvPr/>
        </p:nvSpPr>
        <p:spPr>
          <a:xfrm>
            <a:off x="1127448" y="3197124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28" name="テキスト ボックス 27"/>
          <p:cNvSpPr txBox="1"/>
          <p:nvPr/>
        </p:nvSpPr>
        <p:spPr>
          <a:xfrm>
            <a:off x="1127448" y="3317716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29" name="テキスト ボックス 28"/>
          <p:cNvSpPr txBox="1"/>
          <p:nvPr/>
        </p:nvSpPr>
        <p:spPr>
          <a:xfrm>
            <a:off x="1127448" y="3440827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30" name="テキスト ボックス 29"/>
          <p:cNvSpPr txBox="1"/>
          <p:nvPr/>
        </p:nvSpPr>
        <p:spPr>
          <a:xfrm>
            <a:off x="1127448" y="3563938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31" name="テキスト ボックス 30"/>
          <p:cNvSpPr txBox="1"/>
          <p:nvPr/>
        </p:nvSpPr>
        <p:spPr>
          <a:xfrm>
            <a:off x="1127448" y="3687049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32" name="テキスト ボックス 31"/>
          <p:cNvSpPr txBox="1"/>
          <p:nvPr/>
        </p:nvSpPr>
        <p:spPr>
          <a:xfrm>
            <a:off x="1127448" y="3807729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33" name="テキスト ボックス 32"/>
          <p:cNvSpPr txBox="1"/>
          <p:nvPr/>
        </p:nvSpPr>
        <p:spPr>
          <a:xfrm>
            <a:off x="1127448" y="3928409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34" name="テキスト ボックス 33"/>
          <p:cNvSpPr txBox="1"/>
          <p:nvPr/>
        </p:nvSpPr>
        <p:spPr>
          <a:xfrm>
            <a:off x="1127448" y="4049089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35" name="テキスト ボックス 34"/>
          <p:cNvSpPr txBox="1"/>
          <p:nvPr/>
        </p:nvSpPr>
        <p:spPr>
          <a:xfrm>
            <a:off x="1127448" y="4169681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36" name="テキスト ボックス 35"/>
          <p:cNvSpPr txBox="1"/>
          <p:nvPr/>
        </p:nvSpPr>
        <p:spPr>
          <a:xfrm>
            <a:off x="1127448" y="4290273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37" name="テキスト ボックス 36"/>
          <p:cNvSpPr txBox="1"/>
          <p:nvPr/>
        </p:nvSpPr>
        <p:spPr>
          <a:xfrm>
            <a:off x="1127448" y="4408492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38" name="テキスト ボックス 37"/>
          <p:cNvSpPr txBox="1"/>
          <p:nvPr/>
        </p:nvSpPr>
        <p:spPr>
          <a:xfrm>
            <a:off x="1127448" y="4529084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39" name="テキスト ボックス 38"/>
          <p:cNvSpPr txBox="1"/>
          <p:nvPr/>
        </p:nvSpPr>
        <p:spPr>
          <a:xfrm>
            <a:off x="1127448" y="4649676"/>
            <a:ext cx="144016" cy="12311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1</a:t>
            </a:r>
            <a:endParaRPr kumimoji="1" lang="ja-JP" altLang="en-US" sz="800" noProof="0" dirty="0" err="1" smtClean="0"/>
          </a:p>
        </p:txBody>
      </p:sp>
      <p:sp>
        <p:nvSpPr>
          <p:cNvPr id="40" name="テキスト ボックス 39"/>
          <p:cNvSpPr txBox="1"/>
          <p:nvPr/>
        </p:nvSpPr>
        <p:spPr>
          <a:xfrm>
            <a:off x="9864533" y="933215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41" name="テキスト ボックス 40"/>
          <p:cNvSpPr txBox="1"/>
          <p:nvPr/>
        </p:nvSpPr>
        <p:spPr>
          <a:xfrm>
            <a:off x="9864533" y="1056326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42" name="テキスト ボックス 41"/>
          <p:cNvSpPr txBox="1"/>
          <p:nvPr/>
        </p:nvSpPr>
        <p:spPr>
          <a:xfrm>
            <a:off x="9864533" y="1179437"/>
            <a:ext cx="144016" cy="12311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dirty="0"/>
              <a:t>1</a:t>
            </a:r>
            <a:endParaRPr kumimoji="1" lang="ja-JP" altLang="en-US" sz="800" noProof="0" dirty="0" err="1" smtClean="0"/>
          </a:p>
        </p:txBody>
      </p:sp>
      <p:sp>
        <p:nvSpPr>
          <p:cNvPr id="43" name="テキスト ボックス 42"/>
          <p:cNvSpPr txBox="1"/>
          <p:nvPr/>
        </p:nvSpPr>
        <p:spPr>
          <a:xfrm>
            <a:off x="9864533" y="1302548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44" name="テキスト ボックス 43"/>
          <p:cNvSpPr txBox="1"/>
          <p:nvPr/>
        </p:nvSpPr>
        <p:spPr>
          <a:xfrm>
            <a:off x="9864533" y="1423228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45" name="テキスト ボックス 44"/>
          <p:cNvSpPr txBox="1"/>
          <p:nvPr/>
        </p:nvSpPr>
        <p:spPr>
          <a:xfrm>
            <a:off x="9864533" y="1543908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46" name="テキスト ボックス 45"/>
          <p:cNvSpPr txBox="1"/>
          <p:nvPr/>
        </p:nvSpPr>
        <p:spPr>
          <a:xfrm>
            <a:off x="9864533" y="1664588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47" name="テキスト ボックス 46"/>
          <p:cNvSpPr txBox="1"/>
          <p:nvPr/>
        </p:nvSpPr>
        <p:spPr>
          <a:xfrm>
            <a:off x="9864533" y="1785180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48" name="テキスト ボックス 47"/>
          <p:cNvSpPr txBox="1"/>
          <p:nvPr/>
        </p:nvSpPr>
        <p:spPr>
          <a:xfrm>
            <a:off x="9864533" y="1905772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49" name="テキスト ボックス 48"/>
          <p:cNvSpPr txBox="1"/>
          <p:nvPr/>
        </p:nvSpPr>
        <p:spPr>
          <a:xfrm>
            <a:off x="9864533" y="2026364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50" name="テキスト ボックス 49"/>
          <p:cNvSpPr txBox="1"/>
          <p:nvPr/>
        </p:nvSpPr>
        <p:spPr>
          <a:xfrm>
            <a:off x="9864533" y="2149475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51" name="テキスト ボックス 50"/>
          <p:cNvSpPr txBox="1"/>
          <p:nvPr/>
        </p:nvSpPr>
        <p:spPr>
          <a:xfrm>
            <a:off x="9864533" y="2272586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52" name="テキスト ボックス 51"/>
          <p:cNvSpPr txBox="1"/>
          <p:nvPr/>
        </p:nvSpPr>
        <p:spPr>
          <a:xfrm>
            <a:off x="9864533" y="2395697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53" name="テキスト ボックス 52"/>
          <p:cNvSpPr txBox="1"/>
          <p:nvPr/>
        </p:nvSpPr>
        <p:spPr>
          <a:xfrm>
            <a:off x="9864533" y="2516377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54" name="テキスト ボックス 53"/>
          <p:cNvSpPr txBox="1"/>
          <p:nvPr/>
        </p:nvSpPr>
        <p:spPr>
          <a:xfrm>
            <a:off x="9864533" y="2637057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55" name="テキスト ボックス 54"/>
          <p:cNvSpPr txBox="1"/>
          <p:nvPr/>
        </p:nvSpPr>
        <p:spPr>
          <a:xfrm>
            <a:off x="9864533" y="2757737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56" name="テキスト ボックス 55"/>
          <p:cNvSpPr txBox="1"/>
          <p:nvPr/>
        </p:nvSpPr>
        <p:spPr>
          <a:xfrm>
            <a:off x="9864533" y="2878329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57" name="テキスト ボックス 56"/>
          <p:cNvSpPr txBox="1"/>
          <p:nvPr/>
        </p:nvSpPr>
        <p:spPr>
          <a:xfrm>
            <a:off x="9864533" y="2998921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58" name="テキスト ボックス 57"/>
          <p:cNvSpPr txBox="1"/>
          <p:nvPr/>
        </p:nvSpPr>
        <p:spPr>
          <a:xfrm>
            <a:off x="9864533" y="3117140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59" name="テキスト ボックス 58"/>
          <p:cNvSpPr txBox="1"/>
          <p:nvPr/>
        </p:nvSpPr>
        <p:spPr>
          <a:xfrm>
            <a:off x="9864533" y="3237732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60" name="テキスト ボックス 59"/>
          <p:cNvSpPr txBox="1"/>
          <p:nvPr/>
        </p:nvSpPr>
        <p:spPr>
          <a:xfrm>
            <a:off x="9864533" y="3358324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dirty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61" name="テキスト ボックス 60"/>
          <p:cNvSpPr txBox="1"/>
          <p:nvPr/>
        </p:nvSpPr>
        <p:spPr>
          <a:xfrm>
            <a:off x="9864533" y="3559046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62" name="テキスト ボックス 61"/>
          <p:cNvSpPr txBox="1"/>
          <p:nvPr/>
        </p:nvSpPr>
        <p:spPr>
          <a:xfrm>
            <a:off x="9864533" y="3682157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63" name="テキスト ボックス 62"/>
          <p:cNvSpPr txBox="1"/>
          <p:nvPr/>
        </p:nvSpPr>
        <p:spPr>
          <a:xfrm>
            <a:off x="9864533" y="3805268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64" name="テキスト ボックス 63"/>
          <p:cNvSpPr txBox="1"/>
          <p:nvPr/>
        </p:nvSpPr>
        <p:spPr>
          <a:xfrm>
            <a:off x="9864533" y="3928379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65" name="テキスト ボックス 64"/>
          <p:cNvSpPr txBox="1"/>
          <p:nvPr/>
        </p:nvSpPr>
        <p:spPr>
          <a:xfrm>
            <a:off x="9864533" y="4049059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66" name="テキスト ボックス 65"/>
          <p:cNvSpPr txBox="1"/>
          <p:nvPr/>
        </p:nvSpPr>
        <p:spPr>
          <a:xfrm>
            <a:off x="9864533" y="4169739"/>
            <a:ext cx="144016" cy="12311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dirty="0"/>
              <a:t>1</a:t>
            </a:r>
            <a:endParaRPr kumimoji="1" lang="ja-JP" altLang="en-US" sz="800" noProof="0" dirty="0" err="1" smtClean="0"/>
          </a:p>
        </p:txBody>
      </p:sp>
      <p:sp>
        <p:nvSpPr>
          <p:cNvPr id="67" name="テキスト ボックス 66"/>
          <p:cNvSpPr txBox="1"/>
          <p:nvPr/>
        </p:nvSpPr>
        <p:spPr>
          <a:xfrm>
            <a:off x="9864533" y="4290419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68" name="テキスト ボックス 67"/>
          <p:cNvSpPr txBox="1"/>
          <p:nvPr/>
        </p:nvSpPr>
        <p:spPr>
          <a:xfrm>
            <a:off x="9864533" y="4411011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69" name="テキスト ボックス 68"/>
          <p:cNvSpPr txBox="1"/>
          <p:nvPr/>
        </p:nvSpPr>
        <p:spPr>
          <a:xfrm>
            <a:off x="9864533" y="4531603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70" name="テキスト ボックス 69"/>
          <p:cNvSpPr txBox="1"/>
          <p:nvPr/>
        </p:nvSpPr>
        <p:spPr>
          <a:xfrm>
            <a:off x="9864533" y="4652195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71" name="テキスト ボックス 70"/>
          <p:cNvSpPr txBox="1"/>
          <p:nvPr/>
        </p:nvSpPr>
        <p:spPr>
          <a:xfrm>
            <a:off x="9864533" y="4775306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72" name="テキスト ボックス 71"/>
          <p:cNvSpPr txBox="1"/>
          <p:nvPr/>
        </p:nvSpPr>
        <p:spPr>
          <a:xfrm>
            <a:off x="9864533" y="4898417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73" name="テキスト ボックス 72"/>
          <p:cNvSpPr txBox="1"/>
          <p:nvPr/>
        </p:nvSpPr>
        <p:spPr>
          <a:xfrm>
            <a:off x="9864533" y="5021528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74" name="テキスト ボックス 73"/>
          <p:cNvSpPr txBox="1"/>
          <p:nvPr/>
        </p:nvSpPr>
        <p:spPr>
          <a:xfrm>
            <a:off x="9864533" y="5142208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75" name="テキスト ボックス 74"/>
          <p:cNvSpPr txBox="1"/>
          <p:nvPr/>
        </p:nvSpPr>
        <p:spPr>
          <a:xfrm>
            <a:off x="9864533" y="5262888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76" name="テキスト ボックス 75"/>
          <p:cNvSpPr txBox="1"/>
          <p:nvPr/>
        </p:nvSpPr>
        <p:spPr>
          <a:xfrm>
            <a:off x="9864533" y="5383568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77" name="テキスト ボックス 76"/>
          <p:cNvSpPr txBox="1"/>
          <p:nvPr/>
        </p:nvSpPr>
        <p:spPr>
          <a:xfrm>
            <a:off x="9864533" y="5504160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78" name="テキスト ボックス 77"/>
          <p:cNvSpPr txBox="1"/>
          <p:nvPr/>
        </p:nvSpPr>
        <p:spPr>
          <a:xfrm>
            <a:off x="9864533" y="5624752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79" name="テキスト ボックス 78"/>
          <p:cNvSpPr txBox="1"/>
          <p:nvPr/>
        </p:nvSpPr>
        <p:spPr>
          <a:xfrm>
            <a:off x="9864533" y="5742971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80" name="テキスト ボックス 79"/>
          <p:cNvSpPr txBox="1"/>
          <p:nvPr/>
        </p:nvSpPr>
        <p:spPr>
          <a:xfrm>
            <a:off x="9864533" y="5863563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81" name="テキスト ボックス 80"/>
          <p:cNvSpPr txBox="1"/>
          <p:nvPr/>
        </p:nvSpPr>
        <p:spPr>
          <a:xfrm>
            <a:off x="9864533" y="5984155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96" name="楕円 95"/>
          <p:cNvSpPr/>
          <p:nvPr/>
        </p:nvSpPr>
        <p:spPr>
          <a:xfrm>
            <a:off x="5303912" y="926309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97" name="楕円 96"/>
          <p:cNvSpPr/>
          <p:nvPr/>
        </p:nvSpPr>
        <p:spPr>
          <a:xfrm>
            <a:off x="5303911" y="1053685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98" name="楕円 97"/>
          <p:cNvSpPr/>
          <p:nvPr/>
        </p:nvSpPr>
        <p:spPr>
          <a:xfrm>
            <a:off x="5303910" y="1174837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99" name="楕円 98"/>
          <p:cNvSpPr/>
          <p:nvPr/>
        </p:nvSpPr>
        <p:spPr>
          <a:xfrm>
            <a:off x="5303912" y="1292347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0" name="楕円 99"/>
          <p:cNvSpPr/>
          <p:nvPr/>
        </p:nvSpPr>
        <p:spPr>
          <a:xfrm>
            <a:off x="5303911" y="1419723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1" name="楕円 100"/>
          <p:cNvSpPr/>
          <p:nvPr/>
        </p:nvSpPr>
        <p:spPr>
          <a:xfrm>
            <a:off x="5303910" y="1540875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2" name="楕円 101"/>
          <p:cNvSpPr/>
          <p:nvPr/>
        </p:nvSpPr>
        <p:spPr>
          <a:xfrm>
            <a:off x="5303912" y="1657861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3" name="楕円 102"/>
          <p:cNvSpPr/>
          <p:nvPr/>
        </p:nvSpPr>
        <p:spPr>
          <a:xfrm>
            <a:off x="5303911" y="1785237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4" name="楕円 103"/>
          <p:cNvSpPr/>
          <p:nvPr/>
        </p:nvSpPr>
        <p:spPr>
          <a:xfrm>
            <a:off x="5303910" y="1906389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5" name="楕円 104"/>
          <p:cNvSpPr/>
          <p:nvPr/>
        </p:nvSpPr>
        <p:spPr>
          <a:xfrm>
            <a:off x="5303912" y="2025205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6" name="楕円 105"/>
          <p:cNvSpPr/>
          <p:nvPr/>
        </p:nvSpPr>
        <p:spPr>
          <a:xfrm>
            <a:off x="5303911" y="2152581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7" name="楕円 106"/>
          <p:cNvSpPr/>
          <p:nvPr/>
        </p:nvSpPr>
        <p:spPr>
          <a:xfrm>
            <a:off x="5303910" y="2273733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8" name="楕円 107"/>
          <p:cNvSpPr/>
          <p:nvPr/>
        </p:nvSpPr>
        <p:spPr>
          <a:xfrm>
            <a:off x="5303912" y="2391243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9" name="楕円 108"/>
          <p:cNvSpPr/>
          <p:nvPr/>
        </p:nvSpPr>
        <p:spPr>
          <a:xfrm>
            <a:off x="5303911" y="2518619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0" name="楕円 109"/>
          <p:cNvSpPr/>
          <p:nvPr/>
        </p:nvSpPr>
        <p:spPr>
          <a:xfrm>
            <a:off x="5303910" y="2639771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1" name="楕円 110"/>
          <p:cNvSpPr/>
          <p:nvPr/>
        </p:nvSpPr>
        <p:spPr>
          <a:xfrm>
            <a:off x="5303912" y="2756757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2" name="楕円 111"/>
          <p:cNvSpPr/>
          <p:nvPr/>
        </p:nvSpPr>
        <p:spPr>
          <a:xfrm>
            <a:off x="5303911" y="2884133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3" name="楕円 112"/>
          <p:cNvSpPr/>
          <p:nvPr/>
        </p:nvSpPr>
        <p:spPr>
          <a:xfrm>
            <a:off x="5303910" y="3005285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4" name="楕円 113"/>
          <p:cNvSpPr/>
          <p:nvPr/>
        </p:nvSpPr>
        <p:spPr>
          <a:xfrm>
            <a:off x="5303912" y="3122271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5" name="楕円 114"/>
          <p:cNvSpPr/>
          <p:nvPr/>
        </p:nvSpPr>
        <p:spPr>
          <a:xfrm>
            <a:off x="5303911" y="3249647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6" name="楕円 115"/>
          <p:cNvSpPr/>
          <p:nvPr/>
        </p:nvSpPr>
        <p:spPr>
          <a:xfrm>
            <a:off x="5303910" y="3370799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7" name="楕円 116"/>
          <p:cNvSpPr/>
          <p:nvPr/>
        </p:nvSpPr>
        <p:spPr>
          <a:xfrm>
            <a:off x="5303910" y="3601059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8" name="楕円 117"/>
          <p:cNvSpPr/>
          <p:nvPr/>
        </p:nvSpPr>
        <p:spPr>
          <a:xfrm>
            <a:off x="5303909" y="3728435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9" name="楕円 118"/>
          <p:cNvSpPr/>
          <p:nvPr/>
        </p:nvSpPr>
        <p:spPr>
          <a:xfrm>
            <a:off x="5303908" y="3849587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20" name="楕円 119"/>
          <p:cNvSpPr/>
          <p:nvPr/>
        </p:nvSpPr>
        <p:spPr>
          <a:xfrm>
            <a:off x="5303910" y="3967097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21" name="楕円 120"/>
          <p:cNvSpPr/>
          <p:nvPr/>
        </p:nvSpPr>
        <p:spPr>
          <a:xfrm>
            <a:off x="5303909" y="4094473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22" name="楕円 121"/>
          <p:cNvSpPr/>
          <p:nvPr/>
        </p:nvSpPr>
        <p:spPr>
          <a:xfrm>
            <a:off x="5303908" y="4215625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23" name="楕円 122"/>
          <p:cNvSpPr/>
          <p:nvPr/>
        </p:nvSpPr>
        <p:spPr>
          <a:xfrm>
            <a:off x="5303910" y="4332611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24" name="楕円 123"/>
          <p:cNvSpPr/>
          <p:nvPr/>
        </p:nvSpPr>
        <p:spPr>
          <a:xfrm>
            <a:off x="5303909" y="4459987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25" name="楕円 124"/>
          <p:cNvSpPr/>
          <p:nvPr/>
        </p:nvSpPr>
        <p:spPr>
          <a:xfrm>
            <a:off x="5303908" y="4581139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26" name="楕円 125"/>
          <p:cNvSpPr/>
          <p:nvPr/>
        </p:nvSpPr>
        <p:spPr>
          <a:xfrm>
            <a:off x="5303910" y="4699955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27" name="楕円 126"/>
          <p:cNvSpPr/>
          <p:nvPr/>
        </p:nvSpPr>
        <p:spPr>
          <a:xfrm>
            <a:off x="5303909" y="4827331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28" name="楕円 127"/>
          <p:cNvSpPr/>
          <p:nvPr/>
        </p:nvSpPr>
        <p:spPr>
          <a:xfrm>
            <a:off x="5303908" y="4948483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29" name="楕円 128"/>
          <p:cNvSpPr/>
          <p:nvPr/>
        </p:nvSpPr>
        <p:spPr>
          <a:xfrm>
            <a:off x="5303910" y="5065993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30" name="楕円 129"/>
          <p:cNvSpPr/>
          <p:nvPr/>
        </p:nvSpPr>
        <p:spPr>
          <a:xfrm>
            <a:off x="5303909" y="5193369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31" name="楕円 130"/>
          <p:cNvSpPr/>
          <p:nvPr/>
        </p:nvSpPr>
        <p:spPr>
          <a:xfrm>
            <a:off x="5303908" y="5314521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32" name="楕円 131"/>
          <p:cNvSpPr/>
          <p:nvPr/>
        </p:nvSpPr>
        <p:spPr>
          <a:xfrm>
            <a:off x="5303910" y="5431507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33" name="楕円 132"/>
          <p:cNvSpPr/>
          <p:nvPr/>
        </p:nvSpPr>
        <p:spPr>
          <a:xfrm>
            <a:off x="5303909" y="5558883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34" name="楕円 133"/>
          <p:cNvSpPr/>
          <p:nvPr/>
        </p:nvSpPr>
        <p:spPr>
          <a:xfrm>
            <a:off x="5303908" y="5680035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35" name="楕円 134"/>
          <p:cNvSpPr/>
          <p:nvPr/>
        </p:nvSpPr>
        <p:spPr>
          <a:xfrm>
            <a:off x="5303910" y="5797021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36" name="楕円 135"/>
          <p:cNvSpPr/>
          <p:nvPr/>
        </p:nvSpPr>
        <p:spPr>
          <a:xfrm>
            <a:off x="5303909" y="5924397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37" name="楕円 136"/>
          <p:cNvSpPr/>
          <p:nvPr/>
        </p:nvSpPr>
        <p:spPr>
          <a:xfrm>
            <a:off x="5303908" y="6045549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42" name="角丸四角形 141"/>
          <p:cNvSpPr/>
          <p:nvPr/>
        </p:nvSpPr>
        <p:spPr>
          <a:xfrm>
            <a:off x="6153519" y="2019696"/>
            <a:ext cx="912235" cy="372539"/>
          </a:xfrm>
          <a:prstGeom prst="round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600" dirty="0" err="1" smtClean="0">
                <a:solidFill>
                  <a:schemeClr val="tx1"/>
                </a:solidFill>
              </a:rPr>
              <a:t>softmax</a:t>
            </a: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43" name="角丸四角形 142"/>
          <p:cNvSpPr/>
          <p:nvPr/>
        </p:nvSpPr>
        <p:spPr>
          <a:xfrm>
            <a:off x="6153519" y="4706273"/>
            <a:ext cx="912235" cy="372539"/>
          </a:xfrm>
          <a:prstGeom prst="round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600" dirty="0" err="1" smtClean="0">
                <a:solidFill>
                  <a:schemeClr val="tx1"/>
                </a:solidFill>
              </a:rPr>
              <a:t>softmax</a:t>
            </a: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44" name="テキスト ボックス 143"/>
          <p:cNvSpPr txBox="1"/>
          <p:nvPr/>
        </p:nvSpPr>
        <p:spPr>
          <a:xfrm>
            <a:off x="7603460" y="928098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4</a:t>
            </a:r>
            <a:endParaRPr kumimoji="1" lang="ja-JP" altLang="en-US" sz="800" noProof="0" dirty="0" err="1" smtClean="0"/>
          </a:p>
        </p:txBody>
      </p:sp>
      <p:sp>
        <p:nvSpPr>
          <p:cNvPr id="145" name="テキスト ボックス 144"/>
          <p:cNvSpPr txBox="1"/>
          <p:nvPr/>
        </p:nvSpPr>
        <p:spPr>
          <a:xfrm>
            <a:off x="7603460" y="1051209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3</a:t>
            </a:r>
            <a:endParaRPr kumimoji="1" lang="ja-JP" altLang="en-US" sz="800" noProof="0" dirty="0" err="1" smtClean="0"/>
          </a:p>
        </p:txBody>
      </p:sp>
      <p:sp>
        <p:nvSpPr>
          <p:cNvPr id="146" name="テキスト ボックス 145"/>
          <p:cNvSpPr txBox="1"/>
          <p:nvPr/>
        </p:nvSpPr>
        <p:spPr>
          <a:xfrm>
            <a:off x="7603460" y="1174320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22</a:t>
            </a:r>
            <a:endParaRPr kumimoji="1" lang="ja-JP" altLang="en-US" sz="800" noProof="0" dirty="0" err="1" smtClean="0"/>
          </a:p>
        </p:txBody>
      </p:sp>
      <p:sp>
        <p:nvSpPr>
          <p:cNvPr id="147" name="テキスト ボックス 146"/>
          <p:cNvSpPr txBox="1"/>
          <p:nvPr/>
        </p:nvSpPr>
        <p:spPr>
          <a:xfrm>
            <a:off x="7603460" y="1297431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3</a:t>
            </a:r>
            <a:endParaRPr kumimoji="1" lang="ja-JP" altLang="en-US" sz="800" noProof="0" dirty="0" err="1" smtClean="0"/>
          </a:p>
        </p:txBody>
      </p:sp>
      <p:sp>
        <p:nvSpPr>
          <p:cNvPr id="148" name="テキスト ボックス 147"/>
          <p:cNvSpPr txBox="1"/>
          <p:nvPr/>
        </p:nvSpPr>
        <p:spPr>
          <a:xfrm>
            <a:off x="7603460" y="1418111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1</a:t>
            </a:r>
            <a:endParaRPr kumimoji="1" lang="ja-JP" altLang="en-US" sz="800" noProof="0" dirty="0" err="1" smtClean="0"/>
          </a:p>
        </p:txBody>
      </p:sp>
      <p:sp>
        <p:nvSpPr>
          <p:cNvPr id="149" name="テキスト ボックス 148"/>
          <p:cNvSpPr txBox="1"/>
          <p:nvPr/>
        </p:nvSpPr>
        <p:spPr>
          <a:xfrm>
            <a:off x="7603460" y="1538791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7</a:t>
            </a:r>
            <a:endParaRPr kumimoji="1" lang="ja-JP" altLang="en-US" sz="800" noProof="0" dirty="0" err="1" smtClean="0"/>
          </a:p>
        </p:txBody>
      </p:sp>
      <p:sp>
        <p:nvSpPr>
          <p:cNvPr id="150" name="テキスト ボックス 149"/>
          <p:cNvSpPr txBox="1"/>
          <p:nvPr/>
        </p:nvSpPr>
        <p:spPr>
          <a:xfrm>
            <a:off x="7603460" y="1659471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1</a:t>
            </a:r>
            <a:endParaRPr kumimoji="1" lang="ja-JP" altLang="en-US" sz="800" noProof="0" dirty="0" err="1" smtClean="0"/>
          </a:p>
        </p:txBody>
      </p:sp>
      <p:sp>
        <p:nvSpPr>
          <p:cNvPr id="151" name="テキスト ボックス 150"/>
          <p:cNvSpPr txBox="1"/>
          <p:nvPr/>
        </p:nvSpPr>
        <p:spPr>
          <a:xfrm>
            <a:off x="7603460" y="1780063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2</a:t>
            </a:r>
            <a:endParaRPr kumimoji="1" lang="ja-JP" altLang="en-US" sz="800" noProof="0" dirty="0" err="1" smtClean="0"/>
          </a:p>
        </p:txBody>
      </p:sp>
      <p:sp>
        <p:nvSpPr>
          <p:cNvPr id="152" name="テキスト ボックス 151"/>
          <p:cNvSpPr txBox="1"/>
          <p:nvPr/>
        </p:nvSpPr>
        <p:spPr>
          <a:xfrm>
            <a:off x="7603460" y="1900655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7</a:t>
            </a:r>
            <a:endParaRPr kumimoji="1" lang="ja-JP" altLang="en-US" sz="800" noProof="0" dirty="0" err="1" smtClean="0"/>
          </a:p>
        </p:txBody>
      </p:sp>
      <p:sp>
        <p:nvSpPr>
          <p:cNvPr id="153" name="テキスト ボックス 152"/>
          <p:cNvSpPr txBox="1"/>
          <p:nvPr/>
        </p:nvSpPr>
        <p:spPr>
          <a:xfrm>
            <a:off x="7603460" y="2021247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3</a:t>
            </a:r>
            <a:endParaRPr kumimoji="1" lang="ja-JP" altLang="en-US" sz="800" noProof="0" dirty="0" err="1" smtClean="0"/>
          </a:p>
        </p:txBody>
      </p:sp>
      <p:sp>
        <p:nvSpPr>
          <p:cNvPr id="154" name="テキスト ボックス 153"/>
          <p:cNvSpPr txBox="1"/>
          <p:nvPr/>
        </p:nvSpPr>
        <p:spPr>
          <a:xfrm>
            <a:off x="7603460" y="2144358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4</a:t>
            </a:r>
            <a:endParaRPr kumimoji="1" lang="ja-JP" altLang="en-US" sz="800" noProof="0" dirty="0" err="1" smtClean="0"/>
          </a:p>
        </p:txBody>
      </p:sp>
      <p:sp>
        <p:nvSpPr>
          <p:cNvPr id="155" name="テキスト ボックス 154"/>
          <p:cNvSpPr txBox="1"/>
          <p:nvPr/>
        </p:nvSpPr>
        <p:spPr>
          <a:xfrm>
            <a:off x="7603460" y="2267469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1</a:t>
            </a:r>
            <a:endParaRPr kumimoji="1" lang="ja-JP" altLang="en-US" sz="800" noProof="0" dirty="0" err="1" smtClean="0"/>
          </a:p>
        </p:txBody>
      </p:sp>
      <p:sp>
        <p:nvSpPr>
          <p:cNvPr id="156" name="テキスト ボックス 155"/>
          <p:cNvSpPr txBox="1"/>
          <p:nvPr/>
        </p:nvSpPr>
        <p:spPr>
          <a:xfrm>
            <a:off x="7603460" y="2390580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4</a:t>
            </a:r>
            <a:endParaRPr kumimoji="1" lang="ja-JP" altLang="en-US" sz="800" noProof="0" dirty="0" err="1" smtClean="0"/>
          </a:p>
        </p:txBody>
      </p:sp>
      <p:sp>
        <p:nvSpPr>
          <p:cNvPr id="157" name="テキスト ボックス 156"/>
          <p:cNvSpPr txBox="1"/>
          <p:nvPr/>
        </p:nvSpPr>
        <p:spPr>
          <a:xfrm>
            <a:off x="7603460" y="2511260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1</a:t>
            </a:r>
            <a:endParaRPr kumimoji="1" lang="ja-JP" altLang="en-US" sz="800" noProof="0" dirty="0" err="1" smtClean="0"/>
          </a:p>
        </p:txBody>
      </p:sp>
      <p:sp>
        <p:nvSpPr>
          <p:cNvPr id="158" name="テキスト ボックス 157"/>
          <p:cNvSpPr txBox="1"/>
          <p:nvPr/>
        </p:nvSpPr>
        <p:spPr>
          <a:xfrm>
            <a:off x="7603460" y="2631940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11</a:t>
            </a:r>
            <a:endParaRPr kumimoji="1" lang="ja-JP" altLang="en-US" sz="800" noProof="0" dirty="0" err="1" smtClean="0"/>
          </a:p>
        </p:txBody>
      </p:sp>
      <p:sp>
        <p:nvSpPr>
          <p:cNvPr id="159" name="テキスト ボックス 158"/>
          <p:cNvSpPr txBox="1"/>
          <p:nvPr/>
        </p:nvSpPr>
        <p:spPr>
          <a:xfrm>
            <a:off x="7603460" y="2752620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4</a:t>
            </a:r>
            <a:endParaRPr kumimoji="1" lang="ja-JP" altLang="en-US" sz="800" noProof="0" dirty="0" err="1" smtClean="0"/>
          </a:p>
        </p:txBody>
      </p:sp>
      <p:sp>
        <p:nvSpPr>
          <p:cNvPr id="160" name="テキスト ボックス 159"/>
          <p:cNvSpPr txBox="1"/>
          <p:nvPr/>
        </p:nvSpPr>
        <p:spPr>
          <a:xfrm>
            <a:off x="7603460" y="2873212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1</a:t>
            </a:r>
            <a:endParaRPr kumimoji="1" lang="ja-JP" altLang="en-US" sz="800" noProof="0" dirty="0" err="1" smtClean="0"/>
          </a:p>
        </p:txBody>
      </p:sp>
      <p:sp>
        <p:nvSpPr>
          <p:cNvPr id="161" name="テキスト ボックス 160"/>
          <p:cNvSpPr txBox="1"/>
          <p:nvPr/>
        </p:nvSpPr>
        <p:spPr>
          <a:xfrm>
            <a:off x="7603460" y="2993804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5</a:t>
            </a:r>
            <a:endParaRPr kumimoji="1" lang="ja-JP" altLang="en-US" sz="800" noProof="0" dirty="0" err="1" smtClean="0"/>
          </a:p>
        </p:txBody>
      </p:sp>
      <p:sp>
        <p:nvSpPr>
          <p:cNvPr id="162" name="テキスト ボックス 161"/>
          <p:cNvSpPr txBox="1"/>
          <p:nvPr/>
        </p:nvSpPr>
        <p:spPr>
          <a:xfrm>
            <a:off x="7603460" y="3112023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6</a:t>
            </a:r>
            <a:endParaRPr kumimoji="1" lang="ja-JP" altLang="en-US" sz="800" noProof="0" dirty="0" err="1" smtClean="0"/>
          </a:p>
        </p:txBody>
      </p:sp>
      <p:sp>
        <p:nvSpPr>
          <p:cNvPr id="163" name="テキスト ボックス 162"/>
          <p:cNvSpPr txBox="1"/>
          <p:nvPr/>
        </p:nvSpPr>
        <p:spPr>
          <a:xfrm>
            <a:off x="7603460" y="3232615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2</a:t>
            </a:r>
            <a:endParaRPr kumimoji="1" lang="ja-JP" altLang="en-US" sz="800" noProof="0" dirty="0" err="1" smtClean="0"/>
          </a:p>
        </p:txBody>
      </p:sp>
      <p:sp>
        <p:nvSpPr>
          <p:cNvPr id="164" name="テキスト ボックス 163"/>
          <p:cNvSpPr txBox="1"/>
          <p:nvPr/>
        </p:nvSpPr>
        <p:spPr>
          <a:xfrm>
            <a:off x="7603460" y="3353207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dirty="0" smtClean="0"/>
              <a:t>0.11</a:t>
            </a:r>
            <a:endParaRPr kumimoji="1" lang="ja-JP" altLang="en-US" sz="800" noProof="0" dirty="0" err="1" smtClean="0"/>
          </a:p>
        </p:txBody>
      </p:sp>
      <p:sp>
        <p:nvSpPr>
          <p:cNvPr id="165" name="テキスト ボックス 164"/>
          <p:cNvSpPr txBox="1"/>
          <p:nvPr/>
        </p:nvSpPr>
        <p:spPr>
          <a:xfrm>
            <a:off x="7603460" y="3553929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1</a:t>
            </a:r>
            <a:endParaRPr kumimoji="1" lang="ja-JP" altLang="en-US" sz="800" noProof="0" dirty="0" err="1" smtClean="0"/>
          </a:p>
        </p:txBody>
      </p:sp>
      <p:sp>
        <p:nvSpPr>
          <p:cNvPr id="166" name="テキスト ボックス 165"/>
          <p:cNvSpPr txBox="1"/>
          <p:nvPr/>
        </p:nvSpPr>
        <p:spPr>
          <a:xfrm>
            <a:off x="7603460" y="3677040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4</a:t>
            </a:r>
            <a:endParaRPr kumimoji="1" lang="ja-JP" altLang="en-US" sz="800" noProof="0" dirty="0" err="1" smtClean="0"/>
          </a:p>
        </p:txBody>
      </p:sp>
      <p:sp>
        <p:nvSpPr>
          <p:cNvPr id="167" name="テキスト ボックス 166"/>
          <p:cNvSpPr txBox="1"/>
          <p:nvPr/>
        </p:nvSpPr>
        <p:spPr>
          <a:xfrm>
            <a:off x="7603460" y="3800151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4</a:t>
            </a:r>
            <a:endParaRPr kumimoji="1" lang="ja-JP" altLang="en-US" sz="800" noProof="0" dirty="0" err="1" smtClean="0"/>
          </a:p>
        </p:txBody>
      </p:sp>
      <p:sp>
        <p:nvSpPr>
          <p:cNvPr id="168" name="テキスト ボックス 167"/>
          <p:cNvSpPr txBox="1"/>
          <p:nvPr/>
        </p:nvSpPr>
        <p:spPr>
          <a:xfrm>
            <a:off x="7603460" y="3923262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1</a:t>
            </a:r>
            <a:endParaRPr kumimoji="1" lang="ja-JP" altLang="en-US" sz="800" noProof="0" dirty="0" err="1" smtClean="0"/>
          </a:p>
        </p:txBody>
      </p:sp>
      <p:sp>
        <p:nvSpPr>
          <p:cNvPr id="169" name="テキスト ボックス 168"/>
          <p:cNvSpPr txBox="1"/>
          <p:nvPr/>
        </p:nvSpPr>
        <p:spPr>
          <a:xfrm>
            <a:off x="7603460" y="4043942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5</a:t>
            </a:r>
            <a:endParaRPr kumimoji="1" lang="ja-JP" altLang="en-US" sz="800" noProof="0" dirty="0" err="1" smtClean="0"/>
          </a:p>
        </p:txBody>
      </p:sp>
      <p:sp>
        <p:nvSpPr>
          <p:cNvPr id="170" name="テキスト ボックス 169"/>
          <p:cNvSpPr txBox="1"/>
          <p:nvPr/>
        </p:nvSpPr>
        <p:spPr>
          <a:xfrm>
            <a:off x="7603460" y="4164622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dirty="0" smtClean="0"/>
              <a:t>0.26</a:t>
            </a:r>
            <a:endParaRPr kumimoji="1" lang="ja-JP" altLang="en-US" sz="800" noProof="0" dirty="0" err="1" smtClean="0"/>
          </a:p>
        </p:txBody>
      </p:sp>
      <p:sp>
        <p:nvSpPr>
          <p:cNvPr id="171" name="テキスト ボックス 170"/>
          <p:cNvSpPr txBox="1"/>
          <p:nvPr/>
        </p:nvSpPr>
        <p:spPr>
          <a:xfrm>
            <a:off x="7603460" y="4285302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1</a:t>
            </a:r>
            <a:endParaRPr kumimoji="1" lang="ja-JP" altLang="en-US" sz="800" noProof="0" dirty="0" err="1" smtClean="0"/>
          </a:p>
        </p:txBody>
      </p:sp>
      <p:sp>
        <p:nvSpPr>
          <p:cNvPr id="172" name="テキスト ボックス 171"/>
          <p:cNvSpPr txBox="1"/>
          <p:nvPr/>
        </p:nvSpPr>
        <p:spPr>
          <a:xfrm>
            <a:off x="7603460" y="4405894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1</a:t>
            </a:r>
            <a:endParaRPr kumimoji="1" lang="ja-JP" altLang="en-US" sz="800" noProof="0" dirty="0" err="1" smtClean="0"/>
          </a:p>
        </p:txBody>
      </p:sp>
      <p:sp>
        <p:nvSpPr>
          <p:cNvPr id="173" name="テキスト ボックス 172"/>
          <p:cNvSpPr txBox="1"/>
          <p:nvPr/>
        </p:nvSpPr>
        <p:spPr>
          <a:xfrm>
            <a:off x="7603460" y="4526486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9</a:t>
            </a:r>
            <a:endParaRPr kumimoji="1" lang="ja-JP" altLang="en-US" sz="800" noProof="0" dirty="0" err="1" smtClean="0"/>
          </a:p>
        </p:txBody>
      </p:sp>
      <p:sp>
        <p:nvSpPr>
          <p:cNvPr id="174" name="テキスト ボックス 173"/>
          <p:cNvSpPr txBox="1"/>
          <p:nvPr/>
        </p:nvSpPr>
        <p:spPr>
          <a:xfrm>
            <a:off x="7603460" y="4647078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4</a:t>
            </a:r>
            <a:endParaRPr kumimoji="1" lang="ja-JP" altLang="en-US" sz="800" noProof="0" dirty="0" err="1" smtClean="0"/>
          </a:p>
        </p:txBody>
      </p:sp>
      <p:sp>
        <p:nvSpPr>
          <p:cNvPr id="175" name="テキスト ボックス 174"/>
          <p:cNvSpPr txBox="1"/>
          <p:nvPr/>
        </p:nvSpPr>
        <p:spPr>
          <a:xfrm>
            <a:off x="7603460" y="4770189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5</a:t>
            </a:r>
            <a:endParaRPr kumimoji="1" lang="ja-JP" altLang="en-US" sz="800" noProof="0" dirty="0" err="1" smtClean="0"/>
          </a:p>
        </p:txBody>
      </p:sp>
      <p:sp>
        <p:nvSpPr>
          <p:cNvPr id="176" name="テキスト ボックス 175"/>
          <p:cNvSpPr txBox="1"/>
          <p:nvPr/>
        </p:nvSpPr>
        <p:spPr>
          <a:xfrm>
            <a:off x="7603460" y="4893300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1</a:t>
            </a:r>
            <a:endParaRPr kumimoji="1" lang="ja-JP" altLang="en-US" sz="800" noProof="0" dirty="0" err="1" smtClean="0"/>
          </a:p>
        </p:txBody>
      </p:sp>
      <p:sp>
        <p:nvSpPr>
          <p:cNvPr id="177" name="テキスト ボックス 176"/>
          <p:cNvSpPr txBox="1"/>
          <p:nvPr/>
        </p:nvSpPr>
        <p:spPr>
          <a:xfrm>
            <a:off x="7603460" y="5016411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10</a:t>
            </a:r>
            <a:endParaRPr kumimoji="1" lang="ja-JP" altLang="en-US" sz="800" noProof="0" dirty="0" err="1" smtClean="0"/>
          </a:p>
        </p:txBody>
      </p:sp>
      <p:sp>
        <p:nvSpPr>
          <p:cNvPr id="178" name="テキスト ボックス 177"/>
          <p:cNvSpPr txBox="1"/>
          <p:nvPr/>
        </p:nvSpPr>
        <p:spPr>
          <a:xfrm>
            <a:off x="7603460" y="5137091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1</a:t>
            </a:r>
            <a:endParaRPr kumimoji="1" lang="ja-JP" altLang="en-US" sz="800" noProof="0" dirty="0" err="1" smtClean="0"/>
          </a:p>
        </p:txBody>
      </p:sp>
      <p:sp>
        <p:nvSpPr>
          <p:cNvPr id="179" name="テキスト ボックス 178"/>
          <p:cNvSpPr txBox="1"/>
          <p:nvPr/>
        </p:nvSpPr>
        <p:spPr>
          <a:xfrm>
            <a:off x="7603460" y="5257771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9</a:t>
            </a:r>
            <a:endParaRPr kumimoji="1" lang="ja-JP" altLang="en-US" sz="800" noProof="0" dirty="0" err="1" smtClean="0"/>
          </a:p>
        </p:txBody>
      </p:sp>
      <p:sp>
        <p:nvSpPr>
          <p:cNvPr id="180" name="テキスト ボックス 179"/>
          <p:cNvSpPr txBox="1"/>
          <p:nvPr/>
        </p:nvSpPr>
        <p:spPr>
          <a:xfrm>
            <a:off x="7603460" y="5378451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6</a:t>
            </a:r>
            <a:endParaRPr kumimoji="1" lang="ja-JP" altLang="en-US" sz="800" noProof="0" dirty="0" err="1" smtClean="0"/>
          </a:p>
        </p:txBody>
      </p:sp>
      <p:sp>
        <p:nvSpPr>
          <p:cNvPr id="181" name="テキスト ボックス 180"/>
          <p:cNvSpPr txBox="1"/>
          <p:nvPr/>
        </p:nvSpPr>
        <p:spPr>
          <a:xfrm>
            <a:off x="7603460" y="5499043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1</a:t>
            </a:r>
            <a:endParaRPr kumimoji="1" lang="ja-JP" altLang="en-US" sz="800" noProof="0" dirty="0" err="1" smtClean="0"/>
          </a:p>
        </p:txBody>
      </p:sp>
      <p:sp>
        <p:nvSpPr>
          <p:cNvPr id="182" name="テキスト ボックス 181"/>
          <p:cNvSpPr txBox="1"/>
          <p:nvPr/>
        </p:nvSpPr>
        <p:spPr>
          <a:xfrm>
            <a:off x="7603460" y="5619635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7</a:t>
            </a:r>
            <a:endParaRPr kumimoji="1" lang="ja-JP" altLang="en-US" sz="800" noProof="0" dirty="0" err="1" smtClean="0"/>
          </a:p>
        </p:txBody>
      </p:sp>
      <p:sp>
        <p:nvSpPr>
          <p:cNvPr id="183" name="テキスト ボックス 182"/>
          <p:cNvSpPr txBox="1"/>
          <p:nvPr/>
        </p:nvSpPr>
        <p:spPr>
          <a:xfrm>
            <a:off x="7603460" y="5737854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3</a:t>
            </a:r>
            <a:endParaRPr kumimoji="1" lang="ja-JP" altLang="en-US" sz="800" noProof="0" dirty="0" err="1" smtClean="0"/>
          </a:p>
        </p:txBody>
      </p:sp>
      <p:sp>
        <p:nvSpPr>
          <p:cNvPr id="184" name="テキスト ボックス 183"/>
          <p:cNvSpPr txBox="1"/>
          <p:nvPr/>
        </p:nvSpPr>
        <p:spPr>
          <a:xfrm>
            <a:off x="7603460" y="5858446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2</a:t>
            </a:r>
            <a:endParaRPr kumimoji="1" lang="ja-JP" altLang="en-US" sz="800" noProof="0" dirty="0" err="1" smtClean="0"/>
          </a:p>
        </p:txBody>
      </p:sp>
      <p:sp>
        <p:nvSpPr>
          <p:cNvPr id="185" name="テキスト ボックス 184"/>
          <p:cNvSpPr txBox="1"/>
          <p:nvPr/>
        </p:nvSpPr>
        <p:spPr>
          <a:xfrm>
            <a:off x="7603460" y="5979038"/>
            <a:ext cx="335770" cy="1258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.01</a:t>
            </a:r>
            <a:endParaRPr kumimoji="1" lang="ja-JP" altLang="en-US" sz="800" noProof="0" dirty="0" err="1" smtClean="0"/>
          </a:p>
        </p:txBody>
      </p:sp>
      <p:cxnSp>
        <p:nvCxnSpPr>
          <p:cNvPr id="195" name="直線矢印コネクタ 194"/>
          <p:cNvCxnSpPr>
            <a:stCxn id="19" idx="3"/>
            <a:endCxn id="13" idx="2"/>
          </p:cNvCxnSpPr>
          <p:nvPr/>
        </p:nvCxnSpPr>
        <p:spPr>
          <a:xfrm>
            <a:off x="1271464" y="2286123"/>
            <a:ext cx="1357806" cy="463992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直線矢印コネクタ 197"/>
          <p:cNvCxnSpPr>
            <a:stCxn id="19" idx="3"/>
            <a:endCxn id="14" idx="2"/>
          </p:cNvCxnSpPr>
          <p:nvPr/>
        </p:nvCxnSpPr>
        <p:spPr>
          <a:xfrm>
            <a:off x="1271464" y="2286123"/>
            <a:ext cx="1368152" cy="863195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直線矢印コネクタ 198"/>
          <p:cNvCxnSpPr>
            <a:stCxn id="19" idx="3"/>
            <a:endCxn id="15" idx="2"/>
          </p:cNvCxnSpPr>
          <p:nvPr/>
        </p:nvCxnSpPr>
        <p:spPr>
          <a:xfrm>
            <a:off x="1271464" y="2286123"/>
            <a:ext cx="1357806" cy="1263448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直線矢印コネクタ 199"/>
          <p:cNvCxnSpPr>
            <a:stCxn id="19" idx="3"/>
            <a:endCxn id="16" idx="2"/>
          </p:cNvCxnSpPr>
          <p:nvPr/>
        </p:nvCxnSpPr>
        <p:spPr>
          <a:xfrm>
            <a:off x="1271464" y="2286123"/>
            <a:ext cx="1357806" cy="1667405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直線矢印コネクタ 200"/>
          <p:cNvCxnSpPr>
            <a:stCxn id="19" idx="3"/>
          </p:cNvCxnSpPr>
          <p:nvPr/>
        </p:nvCxnSpPr>
        <p:spPr>
          <a:xfrm>
            <a:off x="1271464" y="2286123"/>
            <a:ext cx="1357806" cy="2190403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直線矢印コネクタ 82"/>
          <p:cNvCxnSpPr>
            <a:stCxn id="39" idx="3"/>
            <a:endCxn id="13" idx="2"/>
          </p:cNvCxnSpPr>
          <p:nvPr/>
        </p:nvCxnSpPr>
        <p:spPr>
          <a:xfrm flipV="1">
            <a:off x="1271464" y="2750115"/>
            <a:ext cx="1357806" cy="1961117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直線矢印コネクタ 83"/>
          <p:cNvCxnSpPr>
            <a:stCxn id="39" idx="3"/>
            <a:endCxn id="14" idx="2"/>
          </p:cNvCxnSpPr>
          <p:nvPr/>
        </p:nvCxnSpPr>
        <p:spPr>
          <a:xfrm flipV="1">
            <a:off x="1271464" y="3149318"/>
            <a:ext cx="1368152" cy="1561914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直線矢印コネクタ 86"/>
          <p:cNvCxnSpPr>
            <a:stCxn id="39" idx="3"/>
            <a:endCxn id="15" idx="2"/>
          </p:cNvCxnSpPr>
          <p:nvPr/>
        </p:nvCxnSpPr>
        <p:spPr>
          <a:xfrm flipV="1">
            <a:off x="1271464" y="3549571"/>
            <a:ext cx="1357806" cy="116166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直線矢印コネクタ 89"/>
          <p:cNvCxnSpPr>
            <a:stCxn id="39" idx="3"/>
            <a:endCxn id="16" idx="2"/>
          </p:cNvCxnSpPr>
          <p:nvPr/>
        </p:nvCxnSpPr>
        <p:spPr>
          <a:xfrm flipV="1">
            <a:off x="1271464" y="3953528"/>
            <a:ext cx="1357806" cy="757704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直線矢印コネクタ 92"/>
          <p:cNvCxnSpPr>
            <a:stCxn id="39" idx="3"/>
            <a:endCxn id="17" idx="2"/>
          </p:cNvCxnSpPr>
          <p:nvPr/>
        </p:nvCxnSpPr>
        <p:spPr>
          <a:xfrm flipV="1">
            <a:off x="1271464" y="4357485"/>
            <a:ext cx="1368152" cy="353747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フリーフォーム 231"/>
          <p:cNvSpPr/>
          <p:nvPr/>
        </p:nvSpPr>
        <p:spPr>
          <a:xfrm>
            <a:off x="2996299" y="982924"/>
            <a:ext cx="2306058" cy="3396023"/>
          </a:xfrm>
          <a:custGeom>
            <a:avLst/>
            <a:gdLst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76362 w 1376362"/>
              <a:gd name="connsiteY3" fmla="*/ 447675 h 2162175"/>
              <a:gd name="connsiteX4" fmla="*/ 9525 w 1376362"/>
              <a:gd name="connsiteY4" fmla="*/ 0 h 2162175"/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66780 w 1376362"/>
              <a:gd name="connsiteY3" fmla="*/ 471318 h 2162175"/>
              <a:gd name="connsiteX4" fmla="*/ 9525 w 1376362"/>
              <a:gd name="connsiteY4" fmla="*/ 0 h 2162175"/>
              <a:gd name="connsiteX0" fmla="*/ 9525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9525 w 1371571"/>
              <a:gd name="connsiteY4" fmla="*/ 0 h 2162175"/>
              <a:gd name="connsiteX0" fmla="*/ 2339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2339 w 1371571"/>
              <a:gd name="connsiteY4" fmla="*/ 0 h 2162175"/>
              <a:gd name="connsiteX0" fmla="*/ 102 w 1369334"/>
              <a:gd name="connsiteY0" fmla="*/ 0 h 2066925"/>
              <a:gd name="connsiteX1" fmla="*/ 2555 w 1369334"/>
              <a:gd name="connsiteY1" fmla="*/ 1625471 h 2066925"/>
              <a:gd name="connsiteX2" fmla="*/ 1369334 w 1369334"/>
              <a:gd name="connsiteY2" fmla="*/ 2066925 h 2066925"/>
              <a:gd name="connsiteX3" fmla="*/ 1364543 w 1369334"/>
              <a:gd name="connsiteY3" fmla="*/ 471318 h 2066925"/>
              <a:gd name="connsiteX4" fmla="*/ 102 w 1369334"/>
              <a:gd name="connsiteY4" fmla="*/ 0 h 2066925"/>
              <a:gd name="connsiteX0" fmla="*/ 102 w 2317967"/>
              <a:gd name="connsiteY0" fmla="*/ 1614024 h 3680949"/>
              <a:gd name="connsiteX1" fmla="*/ 2555 w 2317967"/>
              <a:gd name="connsiteY1" fmla="*/ 3239495 h 3680949"/>
              <a:gd name="connsiteX2" fmla="*/ 1369334 w 2317967"/>
              <a:gd name="connsiteY2" fmla="*/ 3680949 h 3680949"/>
              <a:gd name="connsiteX3" fmla="*/ 2317967 w 2317967"/>
              <a:gd name="connsiteY3" fmla="*/ 0 h 3680949"/>
              <a:gd name="connsiteX4" fmla="*/ 102 w 2317967"/>
              <a:gd name="connsiteY4" fmla="*/ 1614024 h 3680949"/>
              <a:gd name="connsiteX0" fmla="*/ 102 w 2317967"/>
              <a:gd name="connsiteY0" fmla="*/ 1614024 h 3239495"/>
              <a:gd name="connsiteX1" fmla="*/ 2555 w 2317967"/>
              <a:gd name="connsiteY1" fmla="*/ 3239495 h 3239495"/>
              <a:gd name="connsiteX2" fmla="*/ 2313175 w 2317967"/>
              <a:gd name="connsiteY2" fmla="*/ 2191419 h 3239495"/>
              <a:gd name="connsiteX3" fmla="*/ 2317967 w 2317967"/>
              <a:gd name="connsiteY3" fmla="*/ 0 h 3239495"/>
              <a:gd name="connsiteX4" fmla="*/ 102 w 2317967"/>
              <a:gd name="connsiteY4" fmla="*/ 1614024 h 3239495"/>
              <a:gd name="connsiteX0" fmla="*/ 102 w 2319894"/>
              <a:gd name="connsiteY0" fmla="*/ 1614024 h 3239495"/>
              <a:gd name="connsiteX1" fmla="*/ 2555 w 2319894"/>
              <a:gd name="connsiteY1" fmla="*/ 3239495 h 3239495"/>
              <a:gd name="connsiteX2" fmla="*/ 2319564 w 2319894"/>
              <a:gd name="connsiteY2" fmla="*/ 2308059 h 3239495"/>
              <a:gd name="connsiteX3" fmla="*/ 2317967 w 2319894"/>
              <a:gd name="connsiteY3" fmla="*/ 0 h 3239495"/>
              <a:gd name="connsiteX4" fmla="*/ 102 w 2319894"/>
              <a:gd name="connsiteY4" fmla="*/ 1614024 h 3239495"/>
              <a:gd name="connsiteX0" fmla="*/ 102 w 2319894"/>
              <a:gd name="connsiteY0" fmla="*/ 1746427 h 3371898"/>
              <a:gd name="connsiteX1" fmla="*/ 2555 w 2319894"/>
              <a:gd name="connsiteY1" fmla="*/ 3371898 h 3371898"/>
              <a:gd name="connsiteX2" fmla="*/ 2319564 w 2319894"/>
              <a:gd name="connsiteY2" fmla="*/ 2440462 h 3371898"/>
              <a:gd name="connsiteX3" fmla="*/ 2317968 w 2319894"/>
              <a:gd name="connsiteY3" fmla="*/ 0 h 3371898"/>
              <a:gd name="connsiteX4" fmla="*/ 102 w 2319894"/>
              <a:gd name="connsiteY4" fmla="*/ 1746427 h 3371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19894" h="3371898">
                <a:moveTo>
                  <a:pt x="102" y="1746427"/>
                </a:moveTo>
                <a:cubicBezTo>
                  <a:pt x="-678" y="2467152"/>
                  <a:pt x="3335" y="2651173"/>
                  <a:pt x="2555" y="3371898"/>
                </a:cubicBezTo>
                <a:lnTo>
                  <a:pt x="2319564" y="2440462"/>
                </a:lnTo>
                <a:cubicBezTo>
                  <a:pt x="2321161" y="1709989"/>
                  <a:pt x="2316371" y="730473"/>
                  <a:pt x="2317968" y="0"/>
                </a:cubicBezTo>
                <a:lnTo>
                  <a:pt x="102" y="1746427"/>
                </a:lnTo>
                <a:close/>
              </a:path>
            </a:pathLst>
          </a:custGeom>
          <a:solidFill>
            <a:schemeClr val="tx2">
              <a:lumMod val="40000"/>
              <a:lumOff val="60000"/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233" name="フリーフォーム 232"/>
          <p:cNvSpPr/>
          <p:nvPr/>
        </p:nvSpPr>
        <p:spPr>
          <a:xfrm>
            <a:off x="2997885" y="2758291"/>
            <a:ext cx="2307319" cy="3362826"/>
          </a:xfrm>
          <a:custGeom>
            <a:avLst/>
            <a:gdLst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76362 w 1376362"/>
              <a:gd name="connsiteY3" fmla="*/ 447675 h 2162175"/>
              <a:gd name="connsiteX4" fmla="*/ 9525 w 1376362"/>
              <a:gd name="connsiteY4" fmla="*/ 0 h 2162175"/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66780 w 1376362"/>
              <a:gd name="connsiteY3" fmla="*/ 471318 h 2162175"/>
              <a:gd name="connsiteX4" fmla="*/ 9525 w 1376362"/>
              <a:gd name="connsiteY4" fmla="*/ 0 h 2162175"/>
              <a:gd name="connsiteX0" fmla="*/ 9525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9525 w 1371571"/>
              <a:gd name="connsiteY4" fmla="*/ 0 h 2162175"/>
              <a:gd name="connsiteX0" fmla="*/ 2339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2339 w 1371571"/>
              <a:gd name="connsiteY4" fmla="*/ 0 h 2162175"/>
              <a:gd name="connsiteX0" fmla="*/ 102 w 1369334"/>
              <a:gd name="connsiteY0" fmla="*/ 0 h 2066925"/>
              <a:gd name="connsiteX1" fmla="*/ 2555 w 1369334"/>
              <a:gd name="connsiteY1" fmla="*/ 1625471 h 2066925"/>
              <a:gd name="connsiteX2" fmla="*/ 1369334 w 1369334"/>
              <a:gd name="connsiteY2" fmla="*/ 2066925 h 2066925"/>
              <a:gd name="connsiteX3" fmla="*/ 1364543 w 1369334"/>
              <a:gd name="connsiteY3" fmla="*/ 471318 h 2066925"/>
              <a:gd name="connsiteX4" fmla="*/ 102 w 1369334"/>
              <a:gd name="connsiteY4" fmla="*/ 0 h 2066925"/>
              <a:gd name="connsiteX0" fmla="*/ 102 w 2317967"/>
              <a:gd name="connsiteY0" fmla="*/ 1614024 h 3680949"/>
              <a:gd name="connsiteX1" fmla="*/ 2555 w 2317967"/>
              <a:gd name="connsiteY1" fmla="*/ 3239495 h 3680949"/>
              <a:gd name="connsiteX2" fmla="*/ 1369334 w 2317967"/>
              <a:gd name="connsiteY2" fmla="*/ 3680949 h 3680949"/>
              <a:gd name="connsiteX3" fmla="*/ 2317967 w 2317967"/>
              <a:gd name="connsiteY3" fmla="*/ 0 h 3680949"/>
              <a:gd name="connsiteX4" fmla="*/ 102 w 2317967"/>
              <a:gd name="connsiteY4" fmla="*/ 1614024 h 3680949"/>
              <a:gd name="connsiteX0" fmla="*/ 102 w 2317967"/>
              <a:gd name="connsiteY0" fmla="*/ 1614024 h 3239495"/>
              <a:gd name="connsiteX1" fmla="*/ 2555 w 2317967"/>
              <a:gd name="connsiteY1" fmla="*/ 3239495 h 3239495"/>
              <a:gd name="connsiteX2" fmla="*/ 2313175 w 2317967"/>
              <a:gd name="connsiteY2" fmla="*/ 2191419 h 3239495"/>
              <a:gd name="connsiteX3" fmla="*/ 2317967 w 2317967"/>
              <a:gd name="connsiteY3" fmla="*/ 0 h 3239495"/>
              <a:gd name="connsiteX4" fmla="*/ 102 w 2317967"/>
              <a:gd name="connsiteY4" fmla="*/ 1614024 h 3239495"/>
              <a:gd name="connsiteX0" fmla="*/ 102 w 2319894"/>
              <a:gd name="connsiteY0" fmla="*/ 1614024 h 3239495"/>
              <a:gd name="connsiteX1" fmla="*/ 2555 w 2319894"/>
              <a:gd name="connsiteY1" fmla="*/ 3239495 h 3239495"/>
              <a:gd name="connsiteX2" fmla="*/ 2319564 w 2319894"/>
              <a:gd name="connsiteY2" fmla="*/ 2308059 h 3239495"/>
              <a:gd name="connsiteX3" fmla="*/ 2317967 w 2319894"/>
              <a:gd name="connsiteY3" fmla="*/ 0 h 3239495"/>
              <a:gd name="connsiteX4" fmla="*/ 102 w 2319894"/>
              <a:gd name="connsiteY4" fmla="*/ 1614024 h 3239495"/>
              <a:gd name="connsiteX0" fmla="*/ 102 w 2319894"/>
              <a:gd name="connsiteY0" fmla="*/ 1746427 h 3371898"/>
              <a:gd name="connsiteX1" fmla="*/ 2555 w 2319894"/>
              <a:gd name="connsiteY1" fmla="*/ 3371898 h 3371898"/>
              <a:gd name="connsiteX2" fmla="*/ 2319564 w 2319894"/>
              <a:gd name="connsiteY2" fmla="*/ 2440462 h 3371898"/>
              <a:gd name="connsiteX3" fmla="*/ 2317968 w 2319894"/>
              <a:gd name="connsiteY3" fmla="*/ 0 h 3371898"/>
              <a:gd name="connsiteX4" fmla="*/ 102 w 2319894"/>
              <a:gd name="connsiteY4" fmla="*/ 1746427 h 3371898"/>
              <a:gd name="connsiteX0" fmla="*/ 102 w 2324357"/>
              <a:gd name="connsiteY0" fmla="*/ 731340 h 2356811"/>
              <a:gd name="connsiteX1" fmla="*/ 2555 w 2324357"/>
              <a:gd name="connsiteY1" fmla="*/ 2356811 h 2356811"/>
              <a:gd name="connsiteX2" fmla="*/ 2319564 w 2324357"/>
              <a:gd name="connsiteY2" fmla="*/ 1425375 h 2356811"/>
              <a:gd name="connsiteX3" fmla="*/ 2324357 w 2324357"/>
              <a:gd name="connsiteY3" fmla="*/ 0 h 2356811"/>
              <a:gd name="connsiteX4" fmla="*/ 102 w 2324357"/>
              <a:gd name="connsiteY4" fmla="*/ 731340 h 2356811"/>
              <a:gd name="connsiteX0" fmla="*/ 3935 w 2321802"/>
              <a:gd name="connsiteY0" fmla="*/ 0 h 3277353"/>
              <a:gd name="connsiteX1" fmla="*/ 0 w 2321802"/>
              <a:gd name="connsiteY1" fmla="*/ 3277353 h 3277353"/>
              <a:gd name="connsiteX2" fmla="*/ 2317009 w 2321802"/>
              <a:gd name="connsiteY2" fmla="*/ 2345917 h 3277353"/>
              <a:gd name="connsiteX3" fmla="*/ 2321802 w 2321802"/>
              <a:gd name="connsiteY3" fmla="*/ 920542 h 3277353"/>
              <a:gd name="connsiteX4" fmla="*/ 3935 w 2321802"/>
              <a:gd name="connsiteY4" fmla="*/ 0 h 3277353"/>
              <a:gd name="connsiteX0" fmla="*/ 102 w 2317969"/>
              <a:gd name="connsiteY0" fmla="*/ 0 h 2345917"/>
              <a:gd name="connsiteX1" fmla="*/ 2555 w 2317969"/>
              <a:gd name="connsiteY1" fmla="*/ 1600252 h 2345917"/>
              <a:gd name="connsiteX2" fmla="*/ 2313176 w 2317969"/>
              <a:gd name="connsiteY2" fmla="*/ 2345917 h 2345917"/>
              <a:gd name="connsiteX3" fmla="*/ 2317969 w 2317969"/>
              <a:gd name="connsiteY3" fmla="*/ 920542 h 2345917"/>
              <a:gd name="connsiteX4" fmla="*/ 102 w 2317969"/>
              <a:gd name="connsiteY4" fmla="*/ 0 h 2345917"/>
              <a:gd name="connsiteX0" fmla="*/ 102 w 2317969"/>
              <a:gd name="connsiteY0" fmla="*/ 0 h 3348395"/>
              <a:gd name="connsiteX1" fmla="*/ 2555 w 2317969"/>
              <a:gd name="connsiteY1" fmla="*/ 1600252 h 3348395"/>
              <a:gd name="connsiteX2" fmla="*/ 2313176 w 2317969"/>
              <a:gd name="connsiteY2" fmla="*/ 3348395 h 3348395"/>
              <a:gd name="connsiteX3" fmla="*/ 2317969 w 2317969"/>
              <a:gd name="connsiteY3" fmla="*/ 920542 h 3348395"/>
              <a:gd name="connsiteX4" fmla="*/ 102 w 2317969"/>
              <a:gd name="connsiteY4" fmla="*/ 0 h 3348395"/>
              <a:gd name="connsiteX0" fmla="*/ 102 w 2321163"/>
              <a:gd name="connsiteY0" fmla="*/ 0 h 3348395"/>
              <a:gd name="connsiteX1" fmla="*/ 2555 w 2321163"/>
              <a:gd name="connsiteY1" fmla="*/ 1600252 h 3348395"/>
              <a:gd name="connsiteX2" fmla="*/ 2313176 w 2321163"/>
              <a:gd name="connsiteY2" fmla="*/ 3348395 h 3348395"/>
              <a:gd name="connsiteX3" fmla="*/ 2321163 w 2321163"/>
              <a:gd name="connsiteY3" fmla="*/ 889018 h 3348395"/>
              <a:gd name="connsiteX4" fmla="*/ 102 w 2321163"/>
              <a:gd name="connsiteY4" fmla="*/ 0 h 3348395"/>
              <a:gd name="connsiteX0" fmla="*/ 102 w 2321163"/>
              <a:gd name="connsiteY0" fmla="*/ 0 h 3338938"/>
              <a:gd name="connsiteX1" fmla="*/ 2555 w 2321163"/>
              <a:gd name="connsiteY1" fmla="*/ 1600252 h 3338938"/>
              <a:gd name="connsiteX2" fmla="*/ 2313176 w 2321163"/>
              <a:gd name="connsiteY2" fmla="*/ 3338938 h 3338938"/>
              <a:gd name="connsiteX3" fmla="*/ 2321163 w 2321163"/>
              <a:gd name="connsiteY3" fmla="*/ 889018 h 3338938"/>
              <a:gd name="connsiteX4" fmla="*/ 102 w 2321163"/>
              <a:gd name="connsiteY4" fmla="*/ 0 h 33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1163" h="3338938">
                <a:moveTo>
                  <a:pt x="102" y="0"/>
                </a:moveTo>
                <a:cubicBezTo>
                  <a:pt x="-678" y="720725"/>
                  <a:pt x="3335" y="879527"/>
                  <a:pt x="2555" y="1600252"/>
                </a:cubicBezTo>
                <a:lnTo>
                  <a:pt x="2313176" y="3338938"/>
                </a:lnTo>
                <a:cubicBezTo>
                  <a:pt x="2314773" y="2608465"/>
                  <a:pt x="2319566" y="1619491"/>
                  <a:pt x="2321163" y="889018"/>
                </a:cubicBezTo>
                <a:lnTo>
                  <a:pt x="102" y="0"/>
                </a:lnTo>
                <a:close/>
              </a:path>
            </a:pathLst>
          </a:custGeom>
          <a:solidFill>
            <a:schemeClr val="tx2">
              <a:lumMod val="40000"/>
              <a:lumOff val="60000"/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234" name="直線矢印コネクタ 233"/>
          <p:cNvCxnSpPr>
            <a:stCxn id="13" idx="6"/>
            <a:endCxn id="232" idx="3"/>
          </p:cNvCxnSpPr>
          <p:nvPr/>
        </p:nvCxnSpPr>
        <p:spPr>
          <a:xfrm flipV="1">
            <a:off x="2989310" y="982924"/>
            <a:ext cx="2311132" cy="176719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直線矢印コネクタ 236"/>
          <p:cNvCxnSpPr>
            <a:stCxn id="17" idx="6"/>
            <a:endCxn id="116" idx="2"/>
          </p:cNvCxnSpPr>
          <p:nvPr/>
        </p:nvCxnSpPr>
        <p:spPr>
          <a:xfrm flipV="1">
            <a:off x="2999656" y="3430677"/>
            <a:ext cx="2304254" cy="926808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直線矢印コネクタ 239"/>
          <p:cNvCxnSpPr>
            <a:stCxn id="17" idx="6"/>
            <a:endCxn id="233" idx="2"/>
          </p:cNvCxnSpPr>
          <p:nvPr/>
        </p:nvCxnSpPr>
        <p:spPr>
          <a:xfrm>
            <a:off x="2999656" y="4357485"/>
            <a:ext cx="2297609" cy="1763632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直線矢印コネクタ 242"/>
          <p:cNvCxnSpPr>
            <a:stCxn id="13" idx="6"/>
            <a:endCxn id="233" idx="3"/>
          </p:cNvCxnSpPr>
          <p:nvPr/>
        </p:nvCxnSpPr>
        <p:spPr>
          <a:xfrm>
            <a:off x="2989310" y="2750115"/>
            <a:ext cx="2315894" cy="903554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6" name="フリーフォーム 245"/>
          <p:cNvSpPr/>
          <p:nvPr/>
        </p:nvSpPr>
        <p:spPr>
          <a:xfrm>
            <a:off x="5421652" y="1003125"/>
            <a:ext cx="729978" cy="2424501"/>
          </a:xfrm>
          <a:custGeom>
            <a:avLst/>
            <a:gdLst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76362 w 1376362"/>
              <a:gd name="connsiteY3" fmla="*/ 447675 h 2162175"/>
              <a:gd name="connsiteX4" fmla="*/ 9525 w 1376362"/>
              <a:gd name="connsiteY4" fmla="*/ 0 h 2162175"/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66780 w 1376362"/>
              <a:gd name="connsiteY3" fmla="*/ 471318 h 2162175"/>
              <a:gd name="connsiteX4" fmla="*/ 9525 w 1376362"/>
              <a:gd name="connsiteY4" fmla="*/ 0 h 2162175"/>
              <a:gd name="connsiteX0" fmla="*/ 9525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9525 w 1371571"/>
              <a:gd name="connsiteY4" fmla="*/ 0 h 2162175"/>
              <a:gd name="connsiteX0" fmla="*/ 2339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2339 w 1371571"/>
              <a:gd name="connsiteY4" fmla="*/ 0 h 2162175"/>
              <a:gd name="connsiteX0" fmla="*/ 102 w 1369334"/>
              <a:gd name="connsiteY0" fmla="*/ 0 h 2066925"/>
              <a:gd name="connsiteX1" fmla="*/ 2555 w 1369334"/>
              <a:gd name="connsiteY1" fmla="*/ 1625471 h 2066925"/>
              <a:gd name="connsiteX2" fmla="*/ 1369334 w 1369334"/>
              <a:gd name="connsiteY2" fmla="*/ 2066925 h 2066925"/>
              <a:gd name="connsiteX3" fmla="*/ 1364543 w 1369334"/>
              <a:gd name="connsiteY3" fmla="*/ 471318 h 2066925"/>
              <a:gd name="connsiteX4" fmla="*/ 102 w 1369334"/>
              <a:gd name="connsiteY4" fmla="*/ 0 h 2066925"/>
              <a:gd name="connsiteX0" fmla="*/ 102 w 2317967"/>
              <a:gd name="connsiteY0" fmla="*/ 1614024 h 3680949"/>
              <a:gd name="connsiteX1" fmla="*/ 2555 w 2317967"/>
              <a:gd name="connsiteY1" fmla="*/ 3239495 h 3680949"/>
              <a:gd name="connsiteX2" fmla="*/ 1369334 w 2317967"/>
              <a:gd name="connsiteY2" fmla="*/ 3680949 h 3680949"/>
              <a:gd name="connsiteX3" fmla="*/ 2317967 w 2317967"/>
              <a:gd name="connsiteY3" fmla="*/ 0 h 3680949"/>
              <a:gd name="connsiteX4" fmla="*/ 102 w 2317967"/>
              <a:gd name="connsiteY4" fmla="*/ 1614024 h 3680949"/>
              <a:gd name="connsiteX0" fmla="*/ 102 w 2317967"/>
              <a:gd name="connsiteY0" fmla="*/ 1614024 h 3239495"/>
              <a:gd name="connsiteX1" fmla="*/ 2555 w 2317967"/>
              <a:gd name="connsiteY1" fmla="*/ 3239495 h 3239495"/>
              <a:gd name="connsiteX2" fmla="*/ 2313175 w 2317967"/>
              <a:gd name="connsiteY2" fmla="*/ 2191419 h 3239495"/>
              <a:gd name="connsiteX3" fmla="*/ 2317967 w 2317967"/>
              <a:gd name="connsiteY3" fmla="*/ 0 h 3239495"/>
              <a:gd name="connsiteX4" fmla="*/ 102 w 2317967"/>
              <a:gd name="connsiteY4" fmla="*/ 1614024 h 3239495"/>
              <a:gd name="connsiteX0" fmla="*/ 102 w 2319894"/>
              <a:gd name="connsiteY0" fmla="*/ 1614024 h 3239495"/>
              <a:gd name="connsiteX1" fmla="*/ 2555 w 2319894"/>
              <a:gd name="connsiteY1" fmla="*/ 3239495 h 3239495"/>
              <a:gd name="connsiteX2" fmla="*/ 2319564 w 2319894"/>
              <a:gd name="connsiteY2" fmla="*/ 2308059 h 3239495"/>
              <a:gd name="connsiteX3" fmla="*/ 2317967 w 2319894"/>
              <a:gd name="connsiteY3" fmla="*/ 0 h 3239495"/>
              <a:gd name="connsiteX4" fmla="*/ 102 w 2319894"/>
              <a:gd name="connsiteY4" fmla="*/ 1614024 h 3239495"/>
              <a:gd name="connsiteX0" fmla="*/ 102 w 2319894"/>
              <a:gd name="connsiteY0" fmla="*/ 1746427 h 3371898"/>
              <a:gd name="connsiteX1" fmla="*/ 2555 w 2319894"/>
              <a:gd name="connsiteY1" fmla="*/ 3371898 h 3371898"/>
              <a:gd name="connsiteX2" fmla="*/ 2319564 w 2319894"/>
              <a:gd name="connsiteY2" fmla="*/ 2440462 h 3371898"/>
              <a:gd name="connsiteX3" fmla="*/ 2317968 w 2319894"/>
              <a:gd name="connsiteY3" fmla="*/ 0 h 3371898"/>
              <a:gd name="connsiteX4" fmla="*/ 102 w 2319894"/>
              <a:gd name="connsiteY4" fmla="*/ 1746427 h 3371898"/>
              <a:gd name="connsiteX0" fmla="*/ 102 w 2317968"/>
              <a:gd name="connsiteY0" fmla="*/ 1746427 h 3371898"/>
              <a:gd name="connsiteX1" fmla="*/ 2555 w 2317968"/>
              <a:gd name="connsiteY1" fmla="*/ 3371898 h 3371898"/>
              <a:gd name="connsiteX2" fmla="*/ 2317968 w 2317968"/>
              <a:gd name="connsiteY2" fmla="*/ 0 h 3371898"/>
              <a:gd name="connsiteX3" fmla="*/ 102 w 2317968"/>
              <a:gd name="connsiteY3" fmla="*/ 1746427 h 3371898"/>
              <a:gd name="connsiteX0" fmla="*/ 0 w 3033334"/>
              <a:gd name="connsiteY0" fmla="*/ 0 h 3970890"/>
              <a:gd name="connsiteX1" fmla="*/ 717921 w 3033334"/>
              <a:gd name="connsiteY1" fmla="*/ 3970890 h 3970890"/>
              <a:gd name="connsiteX2" fmla="*/ 3033334 w 3033334"/>
              <a:gd name="connsiteY2" fmla="*/ 598992 h 3970890"/>
              <a:gd name="connsiteX3" fmla="*/ 0 w 3033334"/>
              <a:gd name="connsiteY3" fmla="*/ 0 h 3970890"/>
              <a:gd name="connsiteX0" fmla="*/ 16711 w 3050045"/>
              <a:gd name="connsiteY0" fmla="*/ 0 h 2407277"/>
              <a:gd name="connsiteX1" fmla="*/ 0 w 3050045"/>
              <a:gd name="connsiteY1" fmla="*/ 2407277 h 2407277"/>
              <a:gd name="connsiteX2" fmla="*/ 3050045 w 3050045"/>
              <a:gd name="connsiteY2" fmla="*/ 598992 h 2407277"/>
              <a:gd name="connsiteX3" fmla="*/ 16711 w 3050045"/>
              <a:gd name="connsiteY3" fmla="*/ 0 h 2407277"/>
              <a:gd name="connsiteX0" fmla="*/ 16711 w 935583"/>
              <a:gd name="connsiteY0" fmla="*/ 0 h 2407277"/>
              <a:gd name="connsiteX1" fmla="*/ 0 w 935583"/>
              <a:gd name="connsiteY1" fmla="*/ 2407277 h 2407277"/>
              <a:gd name="connsiteX2" fmla="*/ 935583 w 935583"/>
              <a:gd name="connsiteY2" fmla="*/ 1185347 h 2407277"/>
              <a:gd name="connsiteX3" fmla="*/ 16711 w 935583"/>
              <a:gd name="connsiteY3" fmla="*/ 0 h 2407277"/>
              <a:gd name="connsiteX0" fmla="*/ 16711 w 590626"/>
              <a:gd name="connsiteY0" fmla="*/ 0 h 2407277"/>
              <a:gd name="connsiteX1" fmla="*/ 0 w 590626"/>
              <a:gd name="connsiteY1" fmla="*/ 2407277 h 2407277"/>
              <a:gd name="connsiteX2" fmla="*/ 590626 w 590626"/>
              <a:gd name="connsiteY2" fmla="*/ 1191652 h 2407277"/>
              <a:gd name="connsiteX3" fmla="*/ 16711 w 590626"/>
              <a:gd name="connsiteY3" fmla="*/ 0 h 2407277"/>
              <a:gd name="connsiteX0" fmla="*/ 16711 w 724776"/>
              <a:gd name="connsiteY0" fmla="*/ 0 h 2407277"/>
              <a:gd name="connsiteX1" fmla="*/ 0 w 724776"/>
              <a:gd name="connsiteY1" fmla="*/ 2407277 h 2407277"/>
              <a:gd name="connsiteX2" fmla="*/ 724776 w 724776"/>
              <a:gd name="connsiteY2" fmla="*/ 1179042 h 2407277"/>
              <a:gd name="connsiteX3" fmla="*/ 16711 w 724776"/>
              <a:gd name="connsiteY3" fmla="*/ 0 h 2407277"/>
              <a:gd name="connsiteX0" fmla="*/ 16711 w 734358"/>
              <a:gd name="connsiteY0" fmla="*/ 0 h 2407277"/>
              <a:gd name="connsiteX1" fmla="*/ 0 w 734358"/>
              <a:gd name="connsiteY1" fmla="*/ 2407277 h 2407277"/>
              <a:gd name="connsiteX2" fmla="*/ 734358 w 734358"/>
              <a:gd name="connsiteY2" fmla="*/ 1194804 h 2407277"/>
              <a:gd name="connsiteX3" fmla="*/ 16711 w 734358"/>
              <a:gd name="connsiteY3" fmla="*/ 0 h 2407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4358" h="2407277">
                <a:moveTo>
                  <a:pt x="16711" y="0"/>
                </a:moveTo>
                <a:cubicBezTo>
                  <a:pt x="15931" y="720725"/>
                  <a:pt x="780" y="1686552"/>
                  <a:pt x="0" y="2407277"/>
                </a:cubicBezTo>
                <a:lnTo>
                  <a:pt x="734358" y="1194804"/>
                </a:lnTo>
                <a:lnTo>
                  <a:pt x="16711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247" name="直線矢印コネクタ 246"/>
          <p:cNvCxnSpPr>
            <a:stCxn id="116" idx="6"/>
            <a:endCxn id="142" idx="1"/>
          </p:cNvCxnSpPr>
          <p:nvPr/>
        </p:nvCxnSpPr>
        <p:spPr>
          <a:xfrm flipV="1">
            <a:off x="5423665" y="2205966"/>
            <a:ext cx="729854" cy="1224711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直線矢印コネクタ 249"/>
          <p:cNvCxnSpPr>
            <a:stCxn id="96" idx="6"/>
            <a:endCxn id="142" idx="1"/>
          </p:cNvCxnSpPr>
          <p:nvPr/>
        </p:nvCxnSpPr>
        <p:spPr>
          <a:xfrm>
            <a:off x="5423667" y="986187"/>
            <a:ext cx="729852" cy="1219779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直線矢印コネクタ 253"/>
          <p:cNvCxnSpPr>
            <a:stCxn id="117" idx="6"/>
            <a:endCxn id="143" idx="1"/>
          </p:cNvCxnSpPr>
          <p:nvPr/>
        </p:nvCxnSpPr>
        <p:spPr>
          <a:xfrm>
            <a:off x="5423665" y="3660937"/>
            <a:ext cx="729854" cy="1231606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直線矢印コネクタ 254"/>
          <p:cNvCxnSpPr>
            <a:stCxn id="137" idx="6"/>
            <a:endCxn id="143" idx="1"/>
          </p:cNvCxnSpPr>
          <p:nvPr/>
        </p:nvCxnSpPr>
        <p:spPr>
          <a:xfrm flipV="1">
            <a:off x="5423663" y="4892543"/>
            <a:ext cx="729856" cy="1212884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直線矢印コネクタ 260"/>
          <p:cNvCxnSpPr>
            <a:stCxn id="142" idx="3"/>
            <a:endCxn id="144" idx="1"/>
          </p:cNvCxnSpPr>
          <p:nvPr/>
        </p:nvCxnSpPr>
        <p:spPr>
          <a:xfrm flipV="1">
            <a:off x="7065754" y="991014"/>
            <a:ext cx="537706" cy="1214952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直線矢印コネクタ 263"/>
          <p:cNvCxnSpPr>
            <a:stCxn id="142" idx="3"/>
            <a:endCxn id="164" idx="1"/>
          </p:cNvCxnSpPr>
          <p:nvPr/>
        </p:nvCxnSpPr>
        <p:spPr>
          <a:xfrm>
            <a:off x="7065754" y="2205966"/>
            <a:ext cx="537706" cy="121015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直線矢印コネクタ 267"/>
          <p:cNvCxnSpPr>
            <a:stCxn id="143" idx="3"/>
            <a:endCxn id="165" idx="1"/>
          </p:cNvCxnSpPr>
          <p:nvPr/>
        </p:nvCxnSpPr>
        <p:spPr>
          <a:xfrm flipV="1">
            <a:off x="7065754" y="3616845"/>
            <a:ext cx="537706" cy="1275698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直線矢印コネクタ 268"/>
          <p:cNvCxnSpPr>
            <a:stCxn id="143" idx="3"/>
            <a:endCxn id="185" idx="1"/>
          </p:cNvCxnSpPr>
          <p:nvPr/>
        </p:nvCxnSpPr>
        <p:spPr>
          <a:xfrm>
            <a:off x="7065754" y="4892543"/>
            <a:ext cx="537706" cy="1149411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角丸四角形 273"/>
          <p:cNvSpPr/>
          <p:nvPr/>
        </p:nvSpPr>
        <p:spPr>
          <a:xfrm>
            <a:off x="8389176" y="2019696"/>
            <a:ext cx="1025411" cy="372539"/>
          </a:xfrm>
          <a:prstGeom prst="round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r>
              <a:rPr kumimoji="1" lang="ja-JP" altLang="en-US" sz="1600" dirty="0" smtClean="0">
                <a:solidFill>
                  <a:schemeClr val="tx1"/>
                </a:solidFill>
              </a:rPr>
              <a:t>誤差計算</a:t>
            </a:r>
          </a:p>
        </p:txBody>
      </p:sp>
      <p:sp>
        <p:nvSpPr>
          <p:cNvPr id="275" name="角丸四角形 274"/>
          <p:cNvSpPr/>
          <p:nvPr/>
        </p:nvSpPr>
        <p:spPr>
          <a:xfrm>
            <a:off x="8389176" y="4649676"/>
            <a:ext cx="1025411" cy="372539"/>
          </a:xfrm>
          <a:prstGeom prst="round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r>
              <a:rPr kumimoji="1" lang="ja-JP" altLang="en-US" sz="1600" dirty="0" smtClean="0">
                <a:solidFill>
                  <a:schemeClr val="tx1"/>
                </a:solidFill>
              </a:rPr>
              <a:t>誤差計算</a:t>
            </a:r>
          </a:p>
        </p:txBody>
      </p:sp>
      <p:sp>
        <p:nvSpPr>
          <p:cNvPr id="276" name="テキスト ボックス 275"/>
          <p:cNvSpPr txBox="1"/>
          <p:nvPr/>
        </p:nvSpPr>
        <p:spPr>
          <a:xfrm>
            <a:off x="2438253" y="2263725"/>
            <a:ext cx="7627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ja-JP" altLang="en-US" sz="1600" noProof="0" dirty="0" smtClean="0"/>
              <a:t>レイヤー</a:t>
            </a:r>
            <a:r>
              <a:rPr kumimoji="1" lang="en-US" altLang="ja-JP" sz="1600" noProof="0" dirty="0" smtClean="0"/>
              <a:t>1</a:t>
            </a:r>
            <a:endParaRPr kumimoji="1" lang="ja-JP" altLang="en-US" sz="1600" noProof="0" dirty="0" smtClean="0"/>
          </a:p>
        </p:txBody>
      </p:sp>
      <p:sp>
        <p:nvSpPr>
          <p:cNvPr id="277" name="テキスト ボックス 276"/>
          <p:cNvSpPr txBox="1"/>
          <p:nvPr/>
        </p:nvSpPr>
        <p:spPr>
          <a:xfrm>
            <a:off x="4982402" y="655808"/>
            <a:ext cx="7627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ja-JP" altLang="en-US" sz="1600" noProof="0" dirty="0" smtClean="0"/>
              <a:t>レイヤー</a:t>
            </a:r>
            <a:r>
              <a:rPr kumimoji="1" lang="en-US" altLang="ja-JP" sz="1600" noProof="0" dirty="0" smtClean="0"/>
              <a:t>2</a:t>
            </a:r>
            <a:endParaRPr kumimoji="1" lang="ja-JP" altLang="en-US" sz="1600" noProof="0" dirty="0" smtClean="0"/>
          </a:p>
        </p:txBody>
      </p:sp>
      <p:sp>
        <p:nvSpPr>
          <p:cNvPr id="279" name="テキスト ボックス 278"/>
          <p:cNvSpPr txBox="1"/>
          <p:nvPr/>
        </p:nvSpPr>
        <p:spPr>
          <a:xfrm>
            <a:off x="403401" y="5684289"/>
            <a:ext cx="4516206" cy="5078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ja-JP" altLang="en-US" sz="1400" noProof="0" dirty="0" smtClean="0"/>
              <a:t>レイヤー</a:t>
            </a:r>
            <a:r>
              <a:rPr kumimoji="1" lang="en-US" altLang="ja-JP" sz="1400" noProof="0" dirty="0" smtClean="0"/>
              <a:t>1</a:t>
            </a:r>
            <a:r>
              <a:rPr kumimoji="1" lang="ja-JP" altLang="en-US" sz="1400" noProof="0" dirty="0" smtClean="0"/>
              <a:t>のニューロン数は、求めたい単語ベクトルの次元数。</a:t>
            </a:r>
            <a:endParaRPr kumimoji="1" lang="en-US" altLang="ja-JP" sz="1400" noProof="0" dirty="0" smtClean="0"/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ja-JP" altLang="en-US" sz="1400" noProof="0" dirty="0" smtClean="0"/>
              <a:t>レイヤー</a:t>
            </a:r>
            <a:r>
              <a:rPr kumimoji="1" lang="en-US" altLang="ja-JP" sz="1400" noProof="0" dirty="0" smtClean="0"/>
              <a:t>2</a:t>
            </a:r>
            <a:r>
              <a:rPr kumimoji="1" lang="ja-JP" altLang="en-US" sz="1400" noProof="0" dirty="0" smtClean="0"/>
              <a:t>の各グループ内のニューロン数は、単語の種類数。</a:t>
            </a:r>
          </a:p>
        </p:txBody>
      </p:sp>
      <p:sp>
        <p:nvSpPr>
          <p:cNvPr id="208" name="フリーフォーム 207"/>
          <p:cNvSpPr/>
          <p:nvPr/>
        </p:nvSpPr>
        <p:spPr>
          <a:xfrm>
            <a:off x="7931245" y="1003326"/>
            <a:ext cx="457931" cy="2424501"/>
          </a:xfrm>
          <a:custGeom>
            <a:avLst/>
            <a:gdLst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76362 w 1376362"/>
              <a:gd name="connsiteY3" fmla="*/ 447675 h 2162175"/>
              <a:gd name="connsiteX4" fmla="*/ 9525 w 1376362"/>
              <a:gd name="connsiteY4" fmla="*/ 0 h 2162175"/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66780 w 1376362"/>
              <a:gd name="connsiteY3" fmla="*/ 471318 h 2162175"/>
              <a:gd name="connsiteX4" fmla="*/ 9525 w 1376362"/>
              <a:gd name="connsiteY4" fmla="*/ 0 h 2162175"/>
              <a:gd name="connsiteX0" fmla="*/ 9525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9525 w 1371571"/>
              <a:gd name="connsiteY4" fmla="*/ 0 h 2162175"/>
              <a:gd name="connsiteX0" fmla="*/ 2339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2339 w 1371571"/>
              <a:gd name="connsiteY4" fmla="*/ 0 h 2162175"/>
              <a:gd name="connsiteX0" fmla="*/ 102 w 1369334"/>
              <a:gd name="connsiteY0" fmla="*/ 0 h 2066925"/>
              <a:gd name="connsiteX1" fmla="*/ 2555 w 1369334"/>
              <a:gd name="connsiteY1" fmla="*/ 1625471 h 2066925"/>
              <a:gd name="connsiteX2" fmla="*/ 1369334 w 1369334"/>
              <a:gd name="connsiteY2" fmla="*/ 2066925 h 2066925"/>
              <a:gd name="connsiteX3" fmla="*/ 1364543 w 1369334"/>
              <a:gd name="connsiteY3" fmla="*/ 471318 h 2066925"/>
              <a:gd name="connsiteX4" fmla="*/ 102 w 1369334"/>
              <a:gd name="connsiteY4" fmla="*/ 0 h 2066925"/>
              <a:gd name="connsiteX0" fmla="*/ 102 w 2317967"/>
              <a:gd name="connsiteY0" fmla="*/ 1614024 h 3680949"/>
              <a:gd name="connsiteX1" fmla="*/ 2555 w 2317967"/>
              <a:gd name="connsiteY1" fmla="*/ 3239495 h 3680949"/>
              <a:gd name="connsiteX2" fmla="*/ 1369334 w 2317967"/>
              <a:gd name="connsiteY2" fmla="*/ 3680949 h 3680949"/>
              <a:gd name="connsiteX3" fmla="*/ 2317967 w 2317967"/>
              <a:gd name="connsiteY3" fmla="*/ 0 h 3680949"/>
              <a:gd name="connsiteX4" fmla="*/ 102 w 2317967"/>
              <a:gd name="connsiteY4" fmla="*/ 1614024 h 3680949"/>
              <a:gd name="connsiteX0" fmla="*/ 102 w 2317967"/>
              <a:gd name="connsiteY0" fmla="*/ 1614024 h 3239495"/>
              <a:gd name="connsiteX1" fmla="*/ 2555 w 2317967"/>
              <a:gd name="connsiteY1" fmla="*/ 3239495 h 3239495"/>
              <a:gd name="connsiteX2" fmla="*/ 2313175 w 2317967"/>
              <a:gd name="connsiteY2" fmla="*/ 2191419 h 3239495"/>
              <a:gd name="connsiteX3" fmla="*/ 2317967 w 2317967"/>
              <a:gd name="connsiteY3" fmla="*/ 0 h 3239495"/>
              <a:gd name="connsiteX4" fmla="*/ 102 w 2317967"/>
              <a:gd name="connsiteY4" fmla="*/ 1614024 h 3239495"/>
              <a:gd name="connsiteX0" fmla="*/ 102 w 2319894"/>
              <a:gd name="connsiteY0" fmla="*/ 1614024 h 3239495"/>
              <a:gd name="connsiteX1" fmla="*/ 2555 w 2319894"/>
              <a:gd name="connsiteY1" fmla="*/ 3239495 h 3239495"/>
              <a:gd name="connsiteX2" fmla="*/ 2319564 w 2319894"/>
              <a:gd name="connsiteY2" fmla="*/ 2308059 h 3239495"/>
              <a:gd name="connsiteX3" fmla="*/ 2317967 w 2319894"/>
              <a:gd name="connsiteY3" fmla="*/ 0 h 3239495"/>
              <a:gd name="connsiteX4" fmla="*/ 102 w 2319894"/>
              <a:gd name="connsiteY4" fmla="*/ 1614024 h 3239495"/>
              <a:gd name="connsiteX0" fmla="*/ 102 w 2319894"/>
              <a:gd name="connsiteY0" fmla="*/ 1746427 h 3371898"/>
              <a:gd name="connsiteX1" fmla="*/ 2555 w 2319894"/>
              <a:gd name="connsiteY1" fmla="*/ 3371898 h 3371898"/>
              <a:gd name="connsiteX2" fmla="*/ 2319564 w 2319894"/>
              <a:gd name="connsiteY2" fmla="*/ 2440462 h 3371898"/>
              <a:gd name="connsiteX3" fmla="*/ 2317968 w 2319894"/>
              <a:gd name="connsiteY3" fmla="*/ 0 h 3371898"/>
              <a:gd name="connsiteX4" fmla="*/ 102 w 2319894"/>
              <a:gd name="connsiteY4" fmla="*/ 1746427 h 3371898"/>
              <a:gd name="connsiteX0" fmla="*/ 102 w 2317968"/>
              <a:gd name="connsiteY0" fmla="*/ 1746427 h 3371898"/>
              <a:gd name="connsiteX1" fmla="*/ 2555 w 2317968"/>
              <a:gd name="connsiteY1" fmla="*/ 3371898 h 3371898"/>
              <a:gd name="connsiteX2" fmla="*/ 2317968 w 2317968"/>
              <a:gd name="connsiteY2" fmla="*/ 0 h 3371898"/>
              <a:gd name="connsiteX3" fmla="*/ 102 w 2317968"/>
              <a:gd name="connsiteY3" fmla="*/ 1746427 h 3371898"/>
              <a:gd name="connsiteX0" fmla="*/ 0 w 3033334"/>
              <a:gd name="connsiteY0" fmla="*/ 0 h 3970890"/>
              <a:gd name="connsiteX1" fmla="*/ 717921 w 3033334"/>
              <a:gd name="connsiteY1" fmla="*/ 3970890 h 3970890"/>
              <a:gd name="connsiteX2" fmla="*/ 3033334 w 3033334"/>
              <a:gd name="connsiteY2" fmla="*/ 598992 h 3970890"/>
              <a:gd name="connsiteX3" fmla="*/ 0 w 3033334"/>
              <a:gd name="connsiteY3" fmla="*/ 0 h 3970890"/>
              <a:gd name="connsiteX0" fmla="*/ 16711 w 3050045"/>
              <a:gd name="connsiteY0" fmla="*/ 0 h 2407277"/>
              <a:gd name="connsiteX1" fmla="*/ 0 w 3050045"/>
              <a:gd name="connsiteY1" fmla="*/ 2407277 h 2407277"/>
              <a:gd name="connsiteX2" fmla="*/ 3050045 w 3050045"/>
              <a:gd name="connsiteY2" fmla="*/ 598992 h 2407277"/>
              <a:gd name="connsiteX3" fmla="*/ 16711 w 3050045"/>
              <a:gd name="connsiteY3" fmla="*/ 0 h 2407277"/>
              <a:gd name="connsiteX0" fmla="*/ 16711 w 935583"/>
              <a:gd name="connsiteY0" fmla="*/ 0 h 2407277"/>
              <a:gd name="connsiteX1" fmla="*/ 0 w 935583"/>
              <a:gd name="connsiteY1" fmla="*/ 2407277 h 2407277"/>
              <a:gd name="connsiteX2" fmla="*/ 935583 w 935583"/>
              <a:gd name="connsiteY2" fmla="*/ 1185347 h 2407277"/>
              <a:gd name="connsiteX3" fmla="*/ 16711 w 935583"/>
              <a:gd name="connsiteY3" fmla="*/ 0 h 2407277"/>
              <a:gd name="connsiteX0" fmla="*/ 16711 w 590626"/>
              <a:gd name="connsiteY0" fmla="*/ 0 h 2407277"/>
              <a:gd name="connsiteX1" fmla="*/ 0 w 590626"/>
              <a:gd name="connsiteY1" fmla="*/ 2407277 h 2407277"/>
              <a:gd name="connsiteX2" fmla="*/ 590626 w 590626"/>
              <a:gd name="connsiteY2" fmla="*/ 1191652 h 2407277"/>
              <a:gd name="connsiteX3" fmla="*/ 16711 w 590626"/>
              <a:gd name="connsiteY3" fmla="*/ 0 h 2407277"/>
              <a:gd name="connsiteX0" fmla="*/ 16711 w 724776"/>
              <a:gd name="connsiteY0" fmla="*/ 0 h 2407277"/>
              <a:gd name="connsiteX1" fmla="*/ 0 w 724776"/>
              <a:gd name="connsiteY1" fmla="*/ 2407277 h 2407277"/>
              <a:gd name="connsiteX2" fmla="*/ 724776 w 724776"/>
              <a:gd name="connsiteY2" fmla="*/ 1179042 h 2407277"/>
              <a:gd name="connsiteX3" fmla="*/ 16711 w 724776"/>
              <a:gd name="connsiteY3" fmla="*/ 0 h 2407277"/>
              <a:gd name="connsiteX0" fmla="*/ 16711 w 734358"/>
              <a:gd name="connsiteY0" fmla="*/ 0 h 2407277"/>
              <a:gd name="connsiteX1" fmla="*/ 0 w 734358"/>
              <a:gd name="connsiteY1" fmla="*/ 2407277 h 2407277"/>
              <a:gd name="connsiteX2" fmla="*/ 734358 w 734358"/>
              <a:gd name="connsiteY2" fmla="*/ 1194804 h 2407277"/>
              <a:gd name="connsiteX3" fmla="*/ 16711 w 734358"/>
              <a:gd name="connsiteY3" fmla="*/ 0 h 2407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4358" h="2407277">
                <a:moveTo>
                  <a:pt x="16711" y="0"/>
                </a:moveTo>
                <a:cubicBezTo>
                  <a:pt x="15931" y="720725"/>
                  <a:pt x="780" y="1686552"/>
                  <a:pt x="0" y="2407277"/>
                </a:cubicBezTo>
                <a:lnTo>
                  <a:pt x="734358" y="1194804"/>
                </a:lnTo>
                <a:lnTo>
                  <a:pt x="16711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209" name="フリーフォーム 208"/>
          <p:cNvSpPr/>
          <p:nvPr/>
        </p:nvSpPr>
        <p:spPr>
          <a:xfrm>
            <a:off x="7934275" y="3616530"/>
            <a:ext cx="454901" cy="2424501"/>
          </a:xfrm>
          <a:custGeom>
            <a:avLst/>
            <a:gdLst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76362 w 1376362"/>
              <a:gd name="connsiteY3" fmla="*/ 447675 h 2162175"/>
              <a:gd name="connsiteX4" fmla="*/ 9525 w 1376362"/>
              <a:gd name="connsiteY4" fmla="*/ 0 h 2162175"/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66780 w 1376362"/>
              <a:gd name="connsiteY3" fmla="*/ 471318 h 2162175"/>
              <a:gd name="connsiteX4" fmla="*/ 9525 w 1376362"/>
              <a:gd name="connsiteY4" fmla="*/ 0 h 2162175"/>
              <a:gd name="connsiteX0" fmla="*/ 9525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9525 w 1371571"/>
              <a:gd name="connsiteY4" fmla="*/ 0 h 2162175"/>
              <a:gd name="connsiteX0" fmla="*/ 2339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2339 w 1371571"/>
              <a:gd name="connsiteY4" fmla="*/ 0 h 2162175"/>
              <a:gd name="connsiteX0" fmla="*/ 102 w 1369334"/>
              <a:gd name="connsiteY0" fmla="*/ 0 h 2066925"/>
              <a:gd name="connsiteX1" fmla="*/ 2555 w 1369334"/>
              <a:gd name="connsiteY1" fmla="*/ 1625471 h 2066925"/>
              <a:gd name="connsiteX2" fmla="*/ 1369334 w 1369334"/>
              <a:gd name="connsiteY2" fmla="*/ 2066925 h 2066925"/>
              <a:gd name="connsiteX3" fmla="*/ 1364543 w 1369334"/>
              <a:gd name="connsiteY3" fmla="*/ 471318 h 2066925"/>
              <a:gd name="connsiteX4" fmla="*/ 102 w 1369334"/>
              <a:gd name="connsiteY4" fmla="*/ 0 h 2066925"/>
              <a:gd name="connsiteX0" fmla="*/ 102 w 2317967"/>
              <a:gd name="connsiteY0" fmla="*/ 1614024 h 3680949"/>
              <a:gd name="connsiteX1" fmla="*/ 2555 w 2317967"/>
              <a:gd name="connsiteY1" fmla="*/ 3239495 h 3680949"/>
              <a:gd name="connsiteX2" fmla="*/ 1369334 w 2317967"/>
              <a:gd name="connsiteY2" fmla="*/ 3680949 h 3680949"/>
              <a:gd name="connsiteX3" fmla="*/ 2317967 w 2317967"/>
              <a:gd name="connsiteY3" fmla="*/ 0 h 3680949"/>
              <a:gd name="connsiteX4" fmla="*/ 102 w 2317967"/>
              <a:gd name="connsiteY4" fmla="*/ 1614024 h 3680949"/>
              <a:gd name="connsiteX0" fmla="*/ 102 w 2317967"/>
              <a:gd name="connsiteY0" fmla="*/ 1614024 h 3239495"/>
              <a:gd name="connsiteX1" fmla="*/ 2555 w 2317967"/>
              <a:gd name="connsiteY1" fmla="*/ 3239495 h 3239495"/>
              <a:gd name="connsiteX2" fmla="*/ 2313175 w 2317967"/>
              <a:gd name="connsiteY2" fmla="*/ 2191419 h 3239495"/>
              <a:gd name="connsiteX3" fmla="*/ 2317967 w 2317967"/>
              <a:gd name="connsiteY3" fmla="*/ 0 h 3239495"/>
              <a:gd name="connsiteX4" fmla="*/ 102 w 2317967"/>
              <a:gd name="connsiteY4" fmla="*/ 1614024 h 3239495"/>
              <a:gd name="connsiteX0" fmla="*/ 102 w 2319894"/>
              <a:gd name="connsiteY0" fmla="*/ 1614024 h 3239495"/>
              <a:gd name="connsiteX1" fmla="*/ 2555 w 2319894"/>
              <a:gd name="connsiteY1" fmla="*/ 3239495 h 3239495"/>
              <a:gd name="connsiteX2" fmla="*/ 2319564 w 2319894"/>
              <a:gd name="connsiteY2" fmla="*/ 2308059 h 3239495"/>
              <a:gd name="connsiteX3" fmla="*/ 2317967 w 2319894"/>
              <a:gd name="connsiteY3" fmla="*/ 0 h 3239495"/>
              <a:gd name="connsiteX4" fmla="*/ 102 w 2319894"/>
              <a:gd name="connsiteY4" fmla="*/ 1614024 h 3239495"/>
              <a:gd name="connsiteX0" fmla="*/ 102 w 2319894"/>
              <a:gd name="connsiteY0" fmla="*/ 1746427 h 3371898"/>
              <a:gd name="connsiteX1" fmla="*/ 2555 w 2319894"/>
              <a:gd name="connsiteY1" fmla="*/ 3371898 h 3371898"/>
              <a:gd name="connsiteX2" fmla="*/ 2319564 w 2319894"/>
              <a:gd name="connsiteY2" fmla="*/ 2440462 h 3371898"/>
              <a:gd name="connsiteX3" fmla="*/ 2317968 w 2319894"/>
              <a:gd name="connsiteY3" fmla="*/ 0 h 3371898"/>
              <a:gd name="connsiteX4" fmla="*/ 102 w 2319894"/>
              <a:gd name="connsiteY4" fmla="*/ 1746427 h 3371898"/>
              <a:gd name="connsiteX0" fmla="*/ 102 w 2317968"/>
              <a:gd name="connsiteY0" fmla="*/ 1746427 h 3371898"/>
              <a:gd name="connsiteX1" fmla="*/ 2555 w 2317968"/>
              <a:gd name="connsiteY1" fmla="*/ 3371898 h 3371898"/>
              <a:gd name="connsiteX2" fmla="*/ 2317968 w 2317968"/>
              <a:gd name="connsiteY2" fmla="*/ 0 h 3371898"/>
              <a:gd name="connsiteX3" fmla="*/ 102 w 2317968"/>
              <a:gd name="connsiteY3" fmla="*/ 1746427 h 3371898"/>
              <a:gd name="connsiteX0" fmla="*/ 0 w 3033334"/>
              <a:gd name="connsiteY0" fmla="*/ 0 h 3970890"/>
              <a:gd name="connsiteX1" fmla="*/ 717921 w 3033334"/>
              <a:gd name="connsiteY1" fmla="*/ 3970890 h 3970890"/>
              <a:gd name="connsiteX2" fmla="*/ 3033334 w 3033334"/>
              <a:gd name="connsiteY2" fmla="*/ 598992 h 3970890"/>
              <a:gd name="connsiteX3" fmla="*/ 0 w 3033334"/>
              <a:gd name="connsiteY3" fmla="*/ 0 h 3970890"/>
              <a:gd name="connsiteX0" fmla="*/ 16711 w 3050045"/>
              <a:gd name="connsiteY0" fmla="*/ 0 h 2407277"/>
              <a:gd name="connsiteX1" fmla="*/ 0 w 3050045"/>
              <a:gd name="connsiteY1" fmla="*/ 2407277 h 2407277"/>
              <a:gd name="connsiteX2" fmla="*/ 3050045 w 3050045"/>
              <a:gd name="connsiteY2" fmla="*/ 598992 h 2407277"/>
              <a:gd name="connsiteX3" fmla="*/ 16711 w 3050045"/>
              <a:gd name="connsiteY3" fmla="*/ 0 h 2407277"/>
              <a:gd name="connsiteX0" fmla="*/ 16711 w 935583"/>
              <a:gd name="connsiteY0" fmla="*/ 0 h 2407277"/>
              <a:gd name="connsiteX1" fmla="*/ 0 w 935583"/>
              <a:gd name="connsiteY1" fmla="*/ 2407277 h 2407277"/>
              <a:gd name="connsiteX2" fmla="*/ 935583 w 935583"/>
              <a:gd name="connsiteY2" fmla="*/ 1185347 h 2407277"/>
              <a:gd name="connsiteX3" fmla="*/ 16711 w 935583"/>
              <a:gd name="connsiteY3" fmla="*/ 0 h 2407277"/>
              <a:gd name="connsiteX0" fmla="*/ 16711 w 590626"/>
              <a:gd name="connsiteY0" fmla="*/ 0 h 2407277"/>
              <a:gd name="connsiteX1" fmla="*/ 0 w 590626"/>
              <a:gd name="connsiteY1" fmla="*/ 2407277 h 2407277"/>
              <a:gd name="connsiteX2" fmla="*/ 590626 w 590626"/>
              <a:gd name="connsiteY2" fmla="*/ 1191652 h 2407277"/>
              <a:gd name="connsiteX3" fmla="*/ 16711 w 590626"/>
              <a:gd name="connsiteY3" fmla="*/ 0 h 2407277"/>
              <a:gd name="connsiteX0" fmla="*/ 16711 w 724776"/>
              <a:gd name="connsiteY0" fmla="*/ 0 h 2407277"/>
              <a:gd name="connsiteX1" fmla="*/ 0 w 724776"/>
              <a:gd name="connsiteY1" fmla="*/ 2407277 h 2407277"/>
              <a:gd name="connsiteX2" fmla="*/ 724776 w 724776"/>
              <a:gd name="connsiteY2" fmla="*/ 1179042 h 2407277"/>
              <a:gd name="connsiteX3" fmla="*/ 16711 w 724776"/>
              <a:gd name="connsiteY3" fmla="*/ 0 h 2407277"/>
              <a:gd name="connsiteX0" fmla="*/ 16711 w 734358"/>
              <a:gd name="connsiteY0" fmla="*/ 0 h 2407277"/>
              <a:gd name="connsiteX1" fmla="*/ 0 w 734358"/>
              <a:gd name="connsiteY1" fmla="*/ 2407277 h 2407277"/>
              <a:gd name="connsiteX2" fmla="*/ 734358 w 734358"/>
              <a:gd name="connsiteY2" fmla="*/ 1194804 h 2407277"/>
              <a:gd name="connsiteX3" fmla="*/ 16711 w 734358"/>
              <a:gd name="connsiteY3" fmla="*/ 0 h 2407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4358" h="2407277">
                <a:moveTo>
                  <a:pt x="16711" y="0"/>
                </a:moveTo>
                <a:cubicBezTo>
                  <a:pt x="15931" y="720725"/>
                  <a:pt x="780" y="1686552"/>
                  <a:pt x="0" y="2407277"/>
                </a:cubicBezTo>
                <a:lnTo>
                  <a:pt x="734358" y="1194804"/>
                </a:lnTo>
                <a:lnTo>
                  <a:pt x="16711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210" name="直線矢印コネクタ 209"/>
          <p:cNvCxnSpPr>
            <a:stCxn id="165" idx="3"/>
            <a:endCxn id="275" idx="1"/>
          </p:cNvCxnSpPr>
          <p:nvPr/>
        </p:nvCxnSpPr>
        <p:spPr>
          <a:xfrm>
            <a:off x="7939230" y="3616845"/>
            <a:ext cx="449946" cy="1219101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直線矢印コネクタ 213"/>
          <p:cNvCxnSpPr>
            <a:stCxn id="185" idx="3"/>
            <a:endCxn id="275" idx="1"/>
          </p:cNvCxnSpPr>
          <p:nvPr/>
        </p:nvCxnSpPr>
        <p:spPr>
          <a:xfrm flipV="1">
            <a:off x="7939230" y="4835946"/>
            <a:ext cx="449946" cy="1206008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直線矢印コネクタ 216"/>
          <p:cNvCxnSpPr>
            <a:stCxn id="164" idx="3"/>
            <a:endCxn id="274" idx="1"/>
          </p:cNvCxnSpPr>
          <p:nvPr/>
        </p:nvCxnSpPr>
        <p:spPr>
          <a:xfrm flipV="1">
            <a:off x="7939230" y="2205966"/>
            <a:ext cx="449946" cy="1210157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直線矢印コネクタ 221"/>
          <p:cNvCxnSpPr>
            <a:stCxn id="144" idx="3"/>
            <a:endCxn id="274" idx="1"/>
          </p:cNvCxnSpPr>
          <p:nvPr/>
        </p:nvCxnSpPr>
        <p:spPr>
          <a:xfrm>
            <a:off x="7939230" y="991014"/>
            <a:ext cx="449946" cy="1214952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8" name="フリーフォーム 257"/>
          <p:cNvSpPr/>
          <p:nvPr/>
        </p:nvSpPr>
        <p:spPr>
          <a:xfrm flipH="1">
            <a:off x="9414586" y="1003126"/>
            <a:ext cx="449946" cy="2412997"/>
          </a:xfrm>
          <a:custGeom>
            <a:avLst/>
            <a:gdLst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76362 w 1376362"/>
              <a:gd name="connsiteY3" fmla="*/ 447675 h 2162175"/>
              <a:gd name="connsiteX4" fmla="*/ 9525 w 1376362"/>
              <a:gd name="connsiteY4" fmla="*/ 0 h 2162175"/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66780 w 1376362"/>
              <a:gd name="connsiteY3" fmla="*/ 471318 h 2162175"/>
              <a:gd name="connsiteX4" fmla="*/ 9525 w 1376362"/>
              <a:gd name="connsiteY4" fmla="*/ 0 h 2162175"/>
              <a:gd name="connsiteX0" fmla="*/ 9525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9525 w 1371571"/>
              <a:gd name="connsiteY4" fmla="*/ 0 h 2162175"/>
              <a:gd name="connsiteX0" fmla="*/ 2339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2339 w 1371571"/>
              <a:gd name="connsiteY4" fmla="*/ 0 h 2162175"/>
              <a:gd name="connsiteX0" fmla="*/ 102 w 1369334"/>
              <a:gd name="connsiteY0" fmla="*/ 0 h 2066925"/>
              <a:gd name="connsiteX1" fmla="*/ 2555 w 1369334"/>
              <a:gd name="connsiteY1" fmla="*/ 1625471 h 2066925"/>
              <a:gd name="connsiteX2" fmla="*/ 1369334 w 1369334"/>
              <a:gd name="connsiteY2" fmla="*/ 2066925 h 2066925"/>
              <a:gd name="connsiteX3" fmla="*/ 1364543 w 1369334"/>
              <a:gd name="connsiteY3" fmla="*/ 471318 h 2066925"/>
              <a:gd name="connsiteX4" fmla="*/ 102 w 1369334"/>
              <a:gd name="connsiteY4" fmla="*/ 0 h 2066925"/>
              <a:gd name="connsiteX0" fmla="*/ 102 w 2317967"/>
              <a:gd name="connsiteY0" fmla="*/ 1614024 h 3680949"/>
              <a:gd name="connsiteX1" fmla="*/ 2555 w 2317967"/>
              <a:gd name="connsiteY1" fmla="*/ 3239495 h 3680949"/>
              <a:gd name="connsiteX2" fmla="*/ 1369334 w 2317967"/>
              <a:gd name="connsiteY2" fmla="*/ 3680949 h 3680949"/>
              <a:gd name="connsiteX3" fmla="*/ 2317967 w 2317967"/>
              <a:gd name="connsiteY3" fmla="*/ 0 h 3680949"/>
              <a:gd name="connsiteX4" fmla="*/ 102 w 2317967"/>
              <a:gd name="connsiteY4" fmla="*/ 1614024 h 3680949"/>
              <a:gd name="connsiteX0" fmla="*/ 102 w 2317967"/>
              <a:gd name="connsiteY0" fmla="*/ 1614024 h 3239495"/>
              <a:gd name="connsiteX1" fmla="*/ 2555 w 2317967"/>
              <a:gd name="connsiteY1" fmla="*/ 3239495 h 3239495"/>
              <a:gd name="connsiteX2" fmla="*/ 2313175 w 2317967"/>
              <a:gd name="connsiteY2" fmla="*/ 2191419 h 3239495"/>
              <a:gd name="connsiteX3" fmla="*/ 2317967 w 2317967"/>
              <a:gd name="connsiteY3" fmla="*/ 0 h 3239495"/>
              <a:gd name="connsiteX4" fmla="*/ 102 w 2317967"/>
              <a:gd name="connsiteY4" fmla="*/ 1614024 h 3239495"/>
              <a:gd name="connsiteX0" fmla="*/ 102 w 2319894"/>
              <a:gd name="connsiteY0" fmla="*/ 1614024 h 3239495"/>
              <a:gd name="connsiteX1" fmla="*/ 2555 w 2319894"/>
              <a:gd name="connsiteY1" fmla="*/ 3239495 h 3239495"/>
              <a:gd name="connsiteX2" fmla="*/ 2319564 w 2319894"/>
              <a:gd name="connsiteY2" fmla="*/ 2308059 h 3239495"/>
              <a:gd name="connsiteX3" fmla="*/ 2317967 w 2319894"/>
              <a:gd name="connsiteY3" fmla="*/ 0 h 3239495"/>
              <a:gd name="connsiteX4" fmla="*/ 102 w 2319894"/>
              <a:gd name="connsiteY4" fmla="*/ 1614024 h 3239495"/>
              <a:gd name="connsiteX0" fmla="*/ 102 w 2319894"/>
              <a:gd name="connsiteY0" fmla="*/ 1746427 h 3371898"/>
              <a:gd name="connsiteX1" fmla="*/ 2555 w 2319894"/>
              <a:gd name="connsiteY1" fmla="*/ 3371898 h 3371898"/>
              <a:gd name="connsiteX2" fmla="*/ 2319564 w 2319894"/>
              <a:gd name="connsiteY2" fmla="*/ 2440462 h 3371898"/>
              <a:gd name="connsiteX3" fmla="*/ 2317968 w 2319894"/>
              <a:gd name="connsiteY3" fmla="*/ 0 h 3371898"/>
              <a:gd name="connsiteX4" fmla="*/ 102 w 2319894"/>
              <a:gd name="connsiteY4" fmla="*/ 1746427 h 3371898"/>
              <a:gd name="connsiteX0" fmla="*/ 102 w 2317968"/>
              <a:gd name="connsiteY0" fmla="*/ 1746427 h 3371898"/>
              <a:gd name="connsiteX1" fmla="*/ 2555 w 2317968"/>
              <a:gd name="connsiteY1" fmla="*/ 3371898 h 3371898"/>
              <a:gd name="connsiteX2" fmla="*/ 2317968 w 2317968"/>
              <a:gd name="connsiteY2" fmla="*/ 0 h 3371898"/>
              <a:gd name="connsiteX3" fmla="*/ 102 w 2317968"/>
              <a:gd name="connsiteY3" fmla="*/ 1746427 h 3371898"/>
              <a:gd name="connsiteX0" fmla="*/ 0 w 3033334"/>
              <a:gd name="connsiteY0" fmla="*/ 0 h 3970890"/>
              <a:gd name="connsiteX1" fmla="*/ 717921 w 3033334"/>
              <a:gd name="connsiteY1" fmla="*/ 3970890 h 3970890"/>
              <a:gd name="connsiteX2" fmla="*/ 3033334 w 3033334"/>
              <a:gd name="connsiteY2" fmla="*/ 598992 h 3970890"/>
              <a:gd name="connsiteX3" fmla="*/ 0 w 3033334"/>
              <a:gd name="connsiteY3" fmla="*/ 0 h 3970890"/>
              <a:gd name="connsiteX0" fmla="*/ 16711 w 3050045"/>
              <a:gd name="connsiteY0" fmla="*/ 0 h 2407277"/>
              <a:gd name="connsiteX1" fmla="*/ 0 w 3050045"/>
              <a:gd name="connsiteY1" fmla="*/ 2407277 h 2407277"/>
              <a:gd name="connsiteX2" fmla="*/ 3050045 w 3050045"/>
              <a:gd name="connsiteY2" fmla="*/ 598992 h 2407277"/>
              <a:gd name="connsiteX3" fmla="*/ 16711 w 3050045"/>
              <a:gd name="connsiteY3" fmla="*/ 0 h 2407277"/>
              <a:gd name="connsiteX0" fmla="*/ 16711 w 935583"/>
              <a:gd name="connsiteY0" fmla="*/ 0 h 2407277"/>
              <a:gd name="connsiteX1" fmla="*/ 0 w 935583"/>
              <a:gd name="connsiteY1" fmla="*/ 2407277 h 2407277"/>
              <a:gd name="connsiteX2" fmla="*/ 935583 w 935583"/>
              <a:gd name="connsiteY2" fmla="*/ 1185347 h 2407277"/>
              <a:gd name="connsiteX3" fmla="*/ 16711 w 935583"/>
              <a:gd name="connsiteY3" fmla="*/ 0 h 2407277"/>
              <a:gd name="connsiteX0" fmla="*/ 16711 w 590626"/>
              <a:gd name="connsiteY0" fmla="*/ 0 h 2407277"/>
              <a:gd name="connsiteX1" fmla="*/ 0 w 590626"/>
              <a:gd name="connsiteY1" fmla="*/ 2407277 h 2407277"/>
              <a:gd name="connsiteX2" fmla="*/ 590626 w 590626"/>
              <a:gd name="connsiteY2" fmla="*/ 1191652 h 2407277"/>
              <a:gd name="connsiteX3" fmla="*/ 16711 w 590626"/>
              <a:gd name="connsiteY3" fmla="*/ 0 h 2407277"/>
              <a:gd name="connsiteX0" fmla="*/ 16711 w 724776"/>
              <a:gd name="connsiteY0" fmla="*/ 0 h 2407277"/>
              <a:gd name="connsiteX1" fmla="*/ 0 w 724776"/>
              <a:gd name="connsiteY1" fmla="*/ 2407277 h 2407277"/>
              <a:gd name="connsiteX2" fmla="*/ 724776 w 724776"/>
              <a:gd name="connsiteY2" fmla="*/ 1179042 h 2407277"/>
              <a:gd name="connsiteX3" fmla="*/ 16711 w 724776"/>
              <a:gd name="connsiteY3" fmla="*/ 0 h 2407277"/>
              <a:gd name="connsiteX0" fmla="*/ 16711 w 734358"/>
              <a:gd name="connsiteY0" fmla="*/ 0 h 2407277"/>
              <a:gd name="connsiteX1" fmla="*/ 0 w 734358"/>
              <a:gd name="connsiteY1" fmla="*/ 2407277 h 2407277"/>
              <a:gd name="connsiteX2" fmla="*/ 734358 w 734358"/>
              <a:gd name="connsiteY2" fmla="*/ 1194804 h 2407277"/>
              <a:gd name="connsiteX3" fmla="*/ 16711 w 734358"/>
              <a:gd name="connsiteY3" fmla="*/ 0 h 2407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4358" h="2407277">
                <a:moveTo>
                  <a:pt x="16711" y="0"/>
                </a:moveTo>
                <a:cubicBezTo>
                  <a:pt x="15931" y="720725"/>
                  <a:pt x="780" y="1686552"/>
                  <a:pt x="0" y="2407277"/>
                </a:cubicBezTo>
                <a:lnTo>
                  <a:pt x="734358" y="1194804"/>
                </a:lnTo>
                <a:lnTo>
                  <a:pt x="16711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259" name="直線矢印コネクタ 258"/>
          <p:cNvCxnSpPr>
            <a:stCxn id="40" idx="1"/>
            <a:endCxn id="258" idx="2"/>
          </p:cNvCxnSpPr>
          <p:nvPr/>
        </p:nvCxnSpPr>
        <p:spPr>
          <a:xfrm flipH="1">
            <a:off x="9414586" y="994771"/>
            <a:ext cx="449947" cy="1205998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直線矢印コネクタ 264"/>
          <p:cNvCxnSpPr>
            <a:stCxn id="60" idx="1"/>
            <a:endCxn id="258" idx="2"/>
          </p:cNvCxnSpPr>
          <p:nvPr/>
        </p:nvCxnSpPr>
        <p:spPr>
          <a:xfrm flipH="1" flipV="1">
            <a:off x="9414586" y="2200769"/>
            <a:ext cx="449947" cy="1219111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フリーフォーム 270"/>
          <p:cNvSpPr/>
          <p:nvPr/>
        </p:nvSpPr>
        <p:spPr>
          <a:xfrm flipH="1">
            <a:off x="9411681" y="3649432"/>
            <a:ext cx="449946" cy="2412997"/>
          </a:xfrm>
          <a:custGeom>
            <a:avLst/>
            <a:gdLst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76362 w 1376362"/>
              <a:gd name="connsiteY3" fmla="*/ 447675 h 2162175"/>
              <a:gd name="connsiteX4" fmla="*/ 9525 w 1376362"/>
              <a:gd name="connsiteY4" fmla="*/ 0 h 2162175"/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66780 w 1376362"/>
              <a:gd name="connsiteY3" fmla="*/ 471318 h 2162175"/>
              <a:gd name="connsiteX4" fmla="*/ 9525 w 1376362"/>
              <a:gd name="connsiteY4" fmla="*/ 0 h 2162175"/>
              <a:gd name="connsiteX0" fmla="*/ 9525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9525 w 1371571"/>
              <a:gd name="connsiteY4" fmla="*/ 0 h 2162175"/>
              <a:gd name="connsiteX0" fmla="*/ 2339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2339 w 1371571"/>
              <a:gd name="connsiteY4" fmla="*/ 0 h 2162175"/>
              <a:gd name="connsiteX0" fmla="*/ 102 w 1369334"/>
              <a:gd name="connsiteY0" fmla="*/ 0 h 2066925"/>
              <a:gd name="connsiteX1" fmla="*/ 2555 w 1369334"/>
              <a:gd name="connsiteY1" fmla="*/ 1625471 h 2066925"/>
              <a:gd name="connsiteX2" fmla="*/ 1369334 w 1369334"/>
              <a:gd name="connsiteY2" fmla="*/ 2066925 h 2066925"/>
              <a:gd name="connsiteX3" fmla="*/ 1364543 w 1369334"/>
              <a:gd name="connsiteY3" fmla="*/ 471318 h 2066925"/>
              <a:gd name="connsiteX4" fmla="*/ 102 w 1369334"/>
              <a:gd name="connsiteY4" fmla="*/ 0 h 2066925"/>
              <a:gd name="connsiteX0" fmla="*/ 102 w 2317967"/>
              <a:gd name="connsiteY0" fmla="*/ 1614024 h 3680949"/>
              <a:gd name="connsiteX1" fmla="*/ 2555 w 2317967"/>
              <a:gd name="connsiteY1" fmla="*/ 3239495 h 3680949"/>
              <a:gd name="connsiteX2" fmla="*/ 1369334 w 2317967"/>
              <a:gd name="connsiteY2" fmla="*/ 3680949 h 3680949"/>
              <a:gd name="connsiteX3" fmla="*/ 2317967 w 2317967"/>
              <a:gd name="connsiteY3" fmla="*/ 0 h 3680949"/>
              <a:gd name="connsiteX4" fmla="*/ 102 w 2317967"/>
              <a:gd name="connsiteY4" fmla="*/ 1614024 h 3680949"/>
              <a:gd name="connsiteX0" fmla="*/ 102 w 2317967"/>
              <a:gd name="connsiteY0" fmla="*/ 1614024 h 3239495"/>
              <a:gd name="connsiteX1" fmla="*/ 2555 w 2317967"/>
              <a:gd name="connsiteY1" fmla="*/ 3239495 h 3239495"/>
              <a:gd name="connsiteX2" fmla="*/ 2313175 w 2317967"/>
              <a:gd name="connsiteY2" fmla="*/ 2191419 h 3239495"/>
              <a:gd name="connsiteX3" fmla="*/ 2317967 w 2317967"/>
              <a:gd name="connsiteY3" fmla="*/ 0 h 3239495"/>
              <a:gd name="connsiteX4" fmla="*/ 102 w 2317967"/>
              <a:gd name="connsiteY4" fmla="*/ 1614024 h 3239495"/>
              <a:gd name="connsiteX0" fmla="*/ 102 w 2319894"/>
              <a:gd name="connsiteY0" fmla="*/ 1614024 h 3239495"/>
              <a:gd name="connsiteX1" fmla="*/ 2555 w 2319894"/>
              <a:gd name="connsiteY1" fmla="*/ 3239495 h 3239495"/>
              <a:gd name="connsiteX2" fmla="*/ 2319564 w 2319894"/>
              <a:gd name="connsiteY2" fmla="*/ 2308059 h 3239495"/>
              <a:gd name="connsiteX3" fmla="*/ 2317967 w 2319894"/>
              <a:gd name="connsiteY3" fmla="*/ 0 h 3239495"/>
              <a:gd name="connsiteX4" fmla="*/ 102 w 2319894"/>
              <a:gd name="connsiteY4" fmla="*/ 1614024 h 3239495"/>
              <a:gd name="connsiteX0" fmla="*/ 102 w 2319894"/>
              <a:gd name="connsiteY0" fmla="*/ 1746427 h 3371898"/>
              <a:gd name="connsiteX1" fmla="*/ 2555 w 2319894"/>
              <a:gd name="connsiteY1" fmla="*/ 3371898 h 3371898"/>
              <a:gd name="connsiteX2" fmla="*/ 2319564 w 2319894"/>
              <a:gd name="connsiteY2" fmla="*/ 2440462 h 3371898"/>
              <a:gd name="connsiteX3" fmla="*/ 2317968 w 2319894"/>
              <a:gd name="connsiteY3" fmla="*/ 0 h 3371898"/>
              <a:gd name="connsiteX4" fmla="*/ 102 w 2319894"/>
              <a:gd name="connsiteY4" fmla="*/ 1746427 h 3371898"/>
              <a:gd name="connsiteX0" fmla="*/ 102 w 2317968"/>
              <a:gd name="connsiteY0" fmla="*/ 1746427 h 3371898"/>
              <a:gd name="connsiteX1" fmla="*/ 2555 w 2317968"/>
              <a:gd name="connsiteY1" fmla="*/ 3371898 h 3371898"/>
              <a:gd name="connsiteX2" fmla="*/ 2317968 w 2317968"/>
              <a:gd name="connsiteY2" fmla="*/ 0 h 3371898"/>
              <a:gd name="connsiteX3" fmla="*/ 102 w 2317968"/>
              <a:gd name="connsiteY3" fmla="*/ 1746427 h 3371898"/>
              <a:gd name="connsiteX0" fmla="*/ 0 w 3033334"/>
              <a:gd name="connsiteY0" fmla="*/ 0 h 3970890"/>
              <a:gd name="connsiteX1" fmla="*/ 717921 w 3033334"/>
              <a:gd name="connsiteY1" fmla="*/ 3970890 h 3970890"/>
              <a:gd name="connsiteX2" fmla="*/ 3033334 w 3033334"/>
              <a:gd name="connsiteY2" fmla="*/ 598992 h 3970890"/>
              <a:gd name="connsiteX3" fmla="*/ 0 w 3033334"/>
              <a:gd name="connsiteY3" fmla="*/ 0 h 3970890"/>
              <a:gd name="connsiteX0" fmla="*/ 16711 w 3050045"/>
              <a:gd name="connsiteY0" fmla="*/ 0 h 2407277"/>
              <a:gd name="connsiteX1" fmla="*/ 0 w 3050045"/>
              <a:gd name="connsiteY1" fmla="*/ 2407277 h 2407277"/>
              <a:gd name="connsiteX2" fmla="*/ 3050045 w 3050045"/>
              <a:gd name="connsiteY2" fmla="*/ 598992 h 2407277"/>
              <a:gd name="connsiteX3" fmla="*/ 16711 w 3050045"/>
              <a:gd name="connsiteY3" fmla="*/ 0 h 2407277"/>
              <a:gd name="connsiteX0" fmla="*/ 16711 w 935583"/>
              <a:gd name="connsiteY0" fmla="*/ 0 h 2407277"/>
              <a:gd name="connsiteX1" fmla="*/ 0 w 935583"/>
              <a:gd name="connsiteY1" fmla="*/ 2407277 h 2407277"/>
              <a:gd name="connsiteX2" fmla="*/ 935583 w 935583"/>
              <a:gd name="connsiteY2" fmla="*/ 1185347 h 2407277"/>
              <a:gd name="connsiteX3" fmla="*/ 16711 w 935583"/>
              <a:gd name="connsiteY3" fmla="*/ 0 h 2407277"/>
              <a:gd name="connsiteX0" fmla="*/ 16711 w 590626"/>
              <a:gd name="connsiteY0" fmla="*/ 0 h 2407277"/>
              <a:gd name="connsiteX1" fmla="*/ 0 w 590626"/>
              <a:gd name="connsiteY1" fmla="*/ 2407277 h 2407277"/>
              <a:gd name="connsiteX2" fmla="*/ 590626 w 590626"/>
              <a:gd name="connsiteY2" fmla="*/ 1191652 h 2407277"/>
              <a:gd name="connsiteX3" fmla="*/ 16711 w 590626"/>
              <a:gd name="connsiteY3" fmla="*/ 0 h 2407277"/>
              <a:gd name="connsiteX0" fmla="*/ 16711 w 724776"/>
              <a:gd name="connsiteY0" fmla="*/ 0 h 2407277"/>
              <a:gd name="connsiteX1" fmla="*/ 0 w 724776"/>
              <a:gd name="connsiteY1" fmla="*/ 2407277 h 2407277"/>
              <a:gd name="connsiteX2" fmla="*/ 724776 w 724776"/>
              <a:gd name="connsiteY2" fmla="*/ 1179042 h 2407277"/>
              <a:gd name="connsiteX3" fmla="*/ 16711 w 724776"/>
              <a:gd name="connsiteY3" fmla="*/ 0 h 2407277"/>
              <a:gd name="connsiteX0" fmla="*/ 16711 w 734358"/>
              <a:gd name="connsiteY0" fmla="*/ 0 h 2407277"/>
              <a:gd name="connsiteX1" fmla="*/ 0 w 734358"/>
              <a:gd name="connsiteY1" fmla="*/ 2407277 h 2407277"/>
              <a:gd name="connsiteX2" fmla="*/ 734358 w 734358"/>
              <a:gd name="connsiteY2" fmla="*/ 1194804 h 2407277"/>
              <a:gd name="connsiteX3" fmla="*/ 16711 w 734358"/>
              <a:gd name="connsiteY3" fmla="*/ 0 h 2407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4358" h="2407277">
                <a:moveTo>
                  <a:pt x="16711" y="0"/>
                </a:moveTo>
                <a:cubicBezTo>
                  <a:pt x="15931" y="720725"/>
                  <a:pt x="780" y="1686552"/>
                  <a:pt x="0" y="2407277"/>
                </a:cubicBezTo>
                <a:lnTo>
                  <a:pt x="734358" y="1194804"/>
                </a:lnTo>
                <a:lnTo>
                  <a:pt x="16711" y="0"/>
                </a:lnTo>
                <a:close/>
              </a:path>
            </a:pathLst>
          </a:custGeom>
          <a:solidFill>
            <a:schemeClr val="bg1">
              <a:lumMod val="95000"/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272" name="直線矢印コネクタ 271"/>
          <p:cNvCxnSpPr>
            <a:stCxn id="61" idx="1"/>
            <a:endCxn id="271" idx="2"/>
          </p:cNvCxnSpPr>
          <p:nvPr/>
        </p:nvCxnSpPr>
        <p:spPr>
          <a:xfrm flipH="1">
            <a:off x="9411681" y="3620602"/>
            <a:ext cx="452852" cy="1226473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直線矢印コネクタ 279"/>
          <p:cNvCxnSpPr>
            <a:stCxn id="271" idx="1"/>
            <a:endCxn id="271" idx="2"/>
          </p:cNvCxnSpPr>
          <p:nvPr/>
        </p:nvCxnSpPr>
        <p:spPr>
          <a:xfrm flipH="1" flipV="1">
            <a:off x="9411681" y="4847075"/>
            <a:ext cx="449946" cy="1215354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7872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角丸四角形 17"/>
          <p:cNvSpPr/>
          <p:nvPr/>
        </p:nvSpPr>
        <p:spPr>
          <a:xfrm>
            <a:off x="5305683" y="2494510"/>
            <a:ext cx="504056" cy="208823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208" name="フリーフォーム 207"/>
          <p:cNvSpPr/>
          <p:nvPr/>
        </p:nvSpPr>
        <p:spPr>
          <a:xfrm>
            <a:off x="1268100" y="2340310"/>
            <a:ext cx="4097045" cy="2420533"/>
          </a:xfrm>
          <a:custGeom>
            <a:avLst/>
            <a:gdLst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76362 w 1376362"/>
              <a:gd name="connsiteY3" fmla="*/ 447675 h 2162175"/>
              <a:gd name="connsiteX4" fmla="*/ 9525 w 1376362"/>
              <a:gd name="connsiteY4" fmla="*/ 0 h 2162175"/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66780 w 1376362"/>
              <a:gd name="connsiteY3" fmla="*/ 471318 h 2162175"/>
              <a:gd name="connsiteX4" fmla="*/ 9525 w 1376362"/>
              <a:gd name="connsiteY4" fmla="*/ 0 h 2162175"/>
              <a:gd name="connsiteX0" fmla="*/ 9525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9525 w 1371571"/>
              <a:gd name="connsiteY4" fmla="*/ 0 h 2162175"/>
              <a:gd name="connsiteX0" fmla="*/ 2339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2339 w 1371571"/>
              <a:gd name="connsiteY4" fmla="*/ 0 h 2162175"/>
              <a:gd name="connsiteX0" fmla="*/ 102 w 1369334"/>
              <a:gd name="connsiteY0" fmla="*/ 0 h 2066925"/>
              <a:gd name="connsiteX1" fmla="*/ 2555 w 1369334"/>
              <a:gd name="connsiteY1" fmla="*/ 1625471 h 2066925"/>
              <a:gd name="connsiteX2" fmla="*/ 1369334 w 1369334"/>
              <a:gd name="connsiteY2" fmla="*/ 2066925 h 2066925"/>
              <a:gd name="connsiteX3" fmla="*/ 1364543 w 1369334"/>
              <a:gd name="connsiteY3" fmla="*/ 471318 h 2066925"/>
              <a:gd name="connsiteX4" fmla="*/ 102 w 1369334"/>
              <a:gd name="connsiteY4" fmla="*/ 0 h 2066925"/>
              <a:gd name="connsiteX0" fmla="*/ 102 w 2317967"/>
              <a:gd name="connsiteY0" fmla="*/ 1614024 h 3680949"/>
              <a:gd name="connsiteX1" fmla="*/ 2555 w 2317967"/>
              <a:gd name="connsiteY1" fmla="*/ 3239495 h 3680949"/>
              <a:gd name="connsiteX2" fmla="*/ 1369334 w 2317967"/>
              <a:gd name="connsiteY2" fmla="*/ 3680949 h 3680949"/>
              <a:gd name="connsiteX3" fmla="*/ 2317967 w 2317967"/>
              <a:gd name="connsiteY3" fmla="*/ 0 h 3680949"/>
              <a:gd name="connsiteX4" fmla="*/ 102 w 2317967"/>
              <a:gd name="connsiteY4" fmla="*/ 1614024 h 3680949"/>
              <a:gd name="connsiteX0" fmla="*/ 102 w 2317967"/>
              <a:gd name="connsiteY0" fmla="*/ 1614024 h 3239495"/>
              <a:gd name="connsiteX1" fmla="*/ 2555 w 2317967"/>
              <a:gd name="connsiteY1" fmla="*/ 3239495 h 3239495"/>
              <a:gd name="connsiteX2" fmla="*/ 2313175 w 2317967"/>
              <a:gd name="connsiteY2" fmla="*/ 2191419 h 3239495"/>
              <a:gd name="connsiteX3" fmla="*/ 2317967 w 2317967"/>
              <a:gd name="connsiteY3" fmla="*/ 0 h 3239495"/>
              <a:gd name="connsiteX4" fmla="*/ 102 w 2317967"/>
              <a:gd name="connsiteY4" fmla="*/ 1614024 h 3239495"/>
              <a:gd name="connsiteX0" fmla="*/ 102 w 2319894"/>
              <a:gd name="connsiteY0" fmla="*/ 1614024 h 3239495"/>
              <a:gd name="connsiteX1" fmla="*/ 2555 w 2319894"/>
              <a:gd name="connsiteY1" fmla="*/ 3239495 h 3239495"/>
              <a:gd name="connsiteX2" fmla="*/ 2319564 w 2319894"/>
              <a:gd name="connsiteY2" fmla="*/ 2308059 h 3239495"/>
              <a:gd name="connsiteX3" fmla="*/ 2317967 w 2319894"/>
              <a:gd name="connsiteY3" fmla="*/ 0 h 3239495"/>
              <a:gd name="connsiteX4" fmla="*/ 102 w 2319894"/>
              <a:gd name="connsiteY4" fmla="*/ 1614024 h 3239495"/>
              <a:gd name="connsiteX0" fmla="*/ 102 w 2319894"/>
              <a:gd name="connsiteY0" fmla="*/ 1746427 h 3371898"/>
              <a:gd name="connsiteX1" fmla="*/ 2555 w 2319894"/>
              <a:gd name="connsiteY1" fmla="*/ 3371898 h 3371898"/>
              <a:gd name="connsiteX2" fmla="*/ 2319564 w 2319894"/>
              <a:gd name="connsiteY2" fmla="*/ 2440462 h 3371898"/>
              <a:gd name="connsiteX3" fmla="*/ 2317968 w 2319894"/>
              <a:gd name="connsiteY3" fmla="*/ 0 h 3371898"/>
              <a:gd name="connsiteX4" fmla="*/ 102 w 2319894"/>
              <a:gd name="connsiteY4" fmla="*/ 1746427 h 3371898"/>
              <a:gd name="connsiteX0" fmla="*/ 699440 w 2317339"/>
              <a:gd name="connsiteY0" fmla="*/ 1044219 h 3371898"/>
              <a:gd name="connsiteX1" fmla="*/ 0 w 2317339"/>
              <a:gd name="connsiteY1" fmla="*/ 3371898 h 3371898"/>
              <a:gd name="connsiteX2" fmla="*/ 2317009 w 2317339"/>
              <a:gd name="connsiteY2" fmla="*/ 2440462 h 3371898"/>
              <a:gd name="connsiteX3" fmla="*/ 2315413 w 2317339"/>
              <a:gd name="connsiteY3" fmla="*/ 0 h 3371898"/>
              <a:gd name="connsiteX4" fmla="*/ 699440 w 2317339"/>
              <a:gd name="connsiteY4" fmla="*/ 1044219 h 3371898"/>
              <a:gd name="connsiteX0" fmla="*/ 2338 w 1620237"/>
              <a:gd name="connsiteY0" fmla="*/ 1044219 h 3447557"/>
              <a:gd name="connsiteX1" fmla="*/ 0 w 1620237"/>
              <a:gd name="connsiteY1" fmla="*/ 3447557 h 3447557"/>
              <a:gd name="connsiteX2" fmla="*/ 1619907 w 1620237"/>
              <a:gd name="connsiteY2" fmla="*/ 2440462 h 3447557"/>
              <a:gd name="connsiteX3" fmla="*/ 1618311 w 1620237"/>
              <a:gd name="connsiteY3" fmla="*/ 0 h 3447557"/>
              <a:gd name="connsiteX4" fmla="*/ 2338 w 1620237"/>
              <a:gd name="connsiteY4" fmla="*/ 1044219 h 3447557"/>
              <a:gd name="connsiteX0" fmla="*/ 2338 w 1618311"/>
              <a:gd name="connsiteY0" fmla="*/ 1044219 h 3447557"/>
              <a:gd name="connsiteX1" fmla="*/ 0 w 1618311"/>
              <a:gd name="connsiteY1" fmla="*/ 3447557 h 3447557"/>
              <a:gd name="connsiteX2" fmla="*/ 1373166 w 1618311"/>
              <a:gd name="connsiteY2" fmla="*/ 3050461 h 3447557"/>
              <a:gd name="connsiteX3" fmla="*/ 1618311 w 1618311"/>
              <a:gd name="connsiteY3" fmla="*/ 0 h 3447557"/>
              <a:gd name="connsiteX4" fmla="*/ 2338 w 1618311"/>
              <a:gd name="connsiteY4" fmla="*/ 1044219 h 3447557"/>
              <a:gd name="connsiteX0" fmla="*/ 2338 w 1373313"/>
              <a:gd name="connsiteY0" fmla="*/ 131331 h 2534669"/>
              <a:gd name="connsiteX1" fmla="*/ 0 w 1373313"/>
              <a:gd name="connsiteY1" fmla="*/ 2534669 h 2534669"/>
              <a:gd name="connsiteX2" fmla="*/ 1373166 w 1373313"/>
              <a:gd name="connsiteY2" fmla="*/ 2137573 h 2534669"/>
              <a:gd name="connsiteX3" fmla="*/ 1364385 w 1373313"/>
              <a:gd name="connsiteY3" fmla="*/ 543542 h 2534669"/>
              <a:gd name="connsiteX4" fmla="*/ 2338 w 1373313"/>
              <a:gd name="connsiteY4" fmla="*/ 131331 h 2534669"/>
              <a:gd name="connsiteX0" fmla="*/ 2338 w 1373313"/>
              <a:gd name="connsiteY0" fmla="*/ 205440 h 2608778"/>
              <a:gd name="connsiteX1" fmla="*/ 0 w 1373313"/>
              <a:gd name="connsiteY1" fmla="*/ 2608778 h 2608778"/>
              <a:gd name="connsiteX2" fmla="*/ 1373166 w 1373313"/>
              <a:gd name="connsiteY2" fmla="*/ 2211682 h 2608778"/>
              <a:gd name="connsiteX3" fmla="*/ 1364385 w 1373313"/>
              <a:gd name="connsiteY3" fmla="*/ 617651 h 2608778"/>
              <a:gd name="connsiteX4" fmla="*/ 2338 w 1373313"/>
              <a:gd name="connsiteY4" fmla="*/ 205440 h 2608778"/>
              <a:gd name="connsiteX0" fmla="*/ 2338 w 1373313"/>
              <a:gd name="connsiteY0" fmla="*/ 0 h 2403338"/>
              <a:gd name="connsiteX1" fmla="*/ 0 w 1373313"/>
              <a:gd name="connsiteY1" fmla="*/ 2403338 h 2403338"/>
              <a:gd name="connsiteX2" fmla="*/ 1373166 w 1373313"/>
              <a:gd name="connsiteY2" fmla="*/ 2006242 h 2403338"/>
              <a:gd name="connsiteX3" fmla="*/ 1364385 w 1373313"/>
              <a:gd name="connsiteY3" fmla="*/ 412211 h 2403338"/>
              <a:gd name="connsiteX4" fmla="*/ 2338 w 1373313"/>
              <a:gd name="connsiteY4" fmla="*/ 0 h 2403338"/>
              <a:gd name="connsiteX0" fmla="*/ 2338 w 1373530"/>
              <a:gd name="connsiteY0" fmla="*/ 0 h 2403338"/>
              <a:gd name="connsiteX1" fmla="*/ 0 w 1373530"/>
              <a:gd name="connsiteY1" fmla="*/ 2403338 h 2403338"/>
              <a:gd name="connsiteX2" fmla="*/ 1373166 w 1373530"/>
              <a:gd name="connsiteY2" fmla="*/ 2006242 h 2403338"/>
              <a:gd name="connsiteX3" fmla="*/ 1372102 w 1373530"/>
              <a:gd name="connsiteY3" fmla="*/ 416152 h 2403338"/>
              <a:gd name="connsiteX4" fmla="*/ 2338 w 1373530"/>
              <a:gd name="connsiteY4" fmla="*/ 0 h 2403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3530" h="2403338">
                <a:moveTo>
                  <a:pt x="2338" y="0"/>
                </a:moveTo>
                <a:cubicBezTo>
                  <a:pt x="1558" y="720725"/>
                  <a:pt x="780" y="1682613"/>
                  <a:pt x="0" y="2403338"/>
                </a:cubicBezTo>
                <a:lnTo>
                  <a:pt x="1373166" y="2006242"/>
                </a:lnTo>
                <a:cubicBezTo>
                  <a:pt x="1374763" y="1275769"/>
                  <a:pt x="1370505" y="1146625"/>
                  <a:pt x="1372102" y="416152"/>
                </a:cubicBezTo>
                <a:lnTo>
                  <a:pt x="2338" y="0"/>
                </a:lnTo>
                <a:close/>
              </a:path>
            </a:pathLst>
          </a:custGeom>
          <a:solidFill>
            <a:schemeClr val="tx2">
              <a:lumMod val="40000"/>
              <a:lumOff val="60000"/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40" name="角丸四角形 139"/>
          <p:cNvSpPr/>
          <p:nvPr/>
        </p:nvSpPr>
        <p:spPr>
          <a:xfrm>
            <a:off x="7849832" y="3568577"/>
            <a:ext cx="504056" cy="262481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39" name="角丸四角形 138"/>
          <p:cNvSpPr/>
          <p:nvPr/>
        </p:nvSpPr>
        <p:spPr>
          <a:xfrm>
            <a:off x="7849832" y="902967"/>
            <a:ext cx="504056" cy="262481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ネットワーク</a:t>
            </a:r>
            <a:r>
              <a:rPr lang="ja-JP" altLang="en-US" dirty="0" smtClean="0"/>
              <a:t>から、単語ベクトルを取り出す</a:t>
            </a:r>
            <a:endParaRPr kumimoji="1"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endParaRPr lang="en-US" altLang="ja-JP" dirty="0" smtClean="0"/>
          </a:p>
          <a:p>
            <a:pPr marL="0" indent="0">
              <a:buNone/>
            </a:pPr>
            <a:endParaRPr lang="en-US" altLang="ja-JP" dirty="0"/>
          </a:p>
          <a:p>
            <a:pPr marL="0" indent="0">
              <a:buNone/>
            </a:pPr>
            <a:endParaRPr lang="en-US" altLang="ja-JP" dirty="0" smtClean="0"/>
          </a:p>
          <a:p>
            <a:pPr marL="0" indent="0">
              <a:buNone/>
            </a:pPr>
            <a:endParaRPr lang="en-US" altLang="ja-JP" dirty="0" smtClean="0"/>
          </a:p>
          <a:p>
            <a:pPr marL="0" indent="0">
              <a:buNone/>
            </a:pPr>
            <a:endParaRPr lang="en-US" altLang="ja-JP" dirty="0"/>
          </a:p>
          <a:p>
            <a:pPr marL="0" indent="0">
              <a:buNone/>
            </a:pPr>
            <a:endParaRPr lang="en-US" altLang="ja-JP" dirty="0" smtClean="0"/>
          </a:p>
          <a:p>
            <a:pPr marL="0" indent="0">
              <a:buNone/>
            </a:pPr>
            <a:endParaRPr lang="en-US" altLang="ja-JP" dirty="0"/>
          </a:p>
        </p:txBody>
      </p:sp>
      <p:sp>
        <p:nvSpPr>
          <p:cNvPr id="7" name="テキスト ボックス 6"/>
          <p:cNvSpPr txBox="1"/>
          <p:nvPr/>
        </p:nvSpPr>
        <p:spPr>
          <a:xfrm>
            <a:off x="3810755" y="4686480"/>
            <a:ext cx="12771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200" noProof="0" dirty="0" smtClean="0"/>
              <a:t>“was”</a:t>
            </a:r>
            <a:r>
              <a:rPr kumimoji="1" lang="ja-JP" altLang="en-US" sz="1200" noProof="0" dirty="0" smtClean="0"/>
              <a:t>のベクトル値。</a:t>
            </a:r>
          </a:p>
        </p:txBody>
      </p:sp>
      <p:sp>
        <p:nvSpPr>
          <p:cNvPr id="13" name="楕円 12"/>
          <p:cNvSpPr/>
          <p:nvPr/>
        </p:nvSpPr>
        <p:spPr>
          <a:xfrm>
            <a:off x="5367345" y="2570095"/>
            <a:ext cx="360040" cy="360040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4" name="楕円 13"/>
          <p:cNvSpPr/>
          <p:nvPr/>
        </p:nvSpPr>
        <p:spPr>
          <a:xfrm>
            <a:off x="5377691" y="2969298"/>
            <a:ext cx="360040" cy="360040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5" name="楕円 14"/>
          <p:cNvSpPr/>
          <p:nvPr/>
        </p:nvSpPr>
        <p:spPr>
          <a:xfrm>
            <a:off x="5367345" y="3369551"/>
            <a:ext cx="360040" cy="360040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6" name="楕円 15"/>
          <p:cNvSpPr/>
          <p:nvPr/>
        </p:nvSpPr>
        <p:spPr>
          <a:xfrm>
            <a:off x="5367345" y="3773508"/>
            <a:ext cx="360040" cy="360040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楕円 16"/>
          <p:cNvSpPr/>
          <p:nvPr/>
        </p:nvSpPr>
        <p:spPr>
          <a:xfrm>
            <a:off x="5377691" y="4177465"/>
            <a:ext cx="360040" cy="360040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9" name="テキスト ボックス 18"/>
          <p:cNvSpPr txBox="1"/>
          <p:nvPr/>
        </p:nvSpPr>
        <p:spPr>
          <a:xfrm>
            <a:off x="1127448" y="2274846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20" name="テキスト ボックス 19"/>
          <p:cNvSpPr txBox="1"/>
          <p:nvPr/>
        </p:nvSpPr>
        <p:spPr>
          <a:xfrm>
            <a:off x="1127448" y="2397957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21" name="テキスト ボックス 20"/>
          <p:cNvSpPr txBox="1"/>
          <p:nvPr/>
        </p:nvSpPr>
        <p:spPr>
          <a:xfrm>
            <a:off x="1127448" y="2521068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22" name="テキスト ボックス 21"/>
          <p:cNvSpPr txBox="1"/>
          <p:nvPr/>
        </p:nvSpPr>
        <p:spPr>
          <a:xfrm>
            <a:off x="1127448" y="2644179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23" name="テキスト ボックス 22"/>
          <p:cNvSpPr txBox="1"/>
          <p:nvPr/>
        </p:nvSpPr>
        <p:spPr>
          <a:xfrm>
            <a:off x="1127448" y="2764859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24" name="テキスト ボックス 23"/>
          <p:cNvSpPr txBox="1"/>
          <p:nvPr/>
        </p:nvSpPr>
        <p:spPr>
          <a:xfrm>
            <a:off x="1127448" y="2885539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25" name="テキスト ボックス 24"/>
          <p:cNvSpPr txBox="1"/>
          <p:nvPr/>
        </p:nvSpPr>
        <p:spPr>
          <a:xfrm>
            <a:off x="1127448" y="3006219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26" name="テキスト ボックス 25"/>
          <p:cNvSpPr txBox="1"/>
          <p:nvPr/>
        </p:nvSpPr>
        <p:spPr>
          <a:xfrm>
            <a:off x="1127448" y="3126811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27" name="テキスト ボックス 26"/>
          <p:cNvSpPr txBox="1"/>
          <p:nvPr/>
        </p:nvSpPr>
        <p:spPr>
          <a:xfrm>
            <a:off x="1127448" y="3247403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28" name="テキスト ボックス 27"/>
          <p:cNvSpPr txBox="1"/>
          <p:nvPr/>
        </p:nvSpPr>
        <p:spPr>
          <a:xfrm>
            <a:off x="1127448" y="3367995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29" name="テキスト ボックス 28"/>
          <p:cNvSpPr txBox="1"/>
          <p:nvPr/>
        </p:nvSpPr>
        <p:spPr>
          <a:xfrm>
            <a:off x="1127448" y="3491106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30" name="テキスト ボックス 29"/>
          <p:cNvSpPr txBox="1"/>
          <p:nvPr/>
        </p:nvSpPr>
        <p:spPr>
          <a:xfrm>
            <a:off x="1127448" y="3614217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31" name="テキスト ボックス 30"/>
          <p:cNvSpPr txBox="1"/>
          <p:nvPr/>
        </p:nvSpPr>
        <p:spPr>
          <a:xfrm>
            <a:off x="1127448" y="3737328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32" name="テキスト ボックス 31"/>
          <p:cNvSpPr txBox="1"/>
          <p:nvPr/>
        </p:nvSpPr>
        <p:spPr>
          <a:xfrm>
            <a:off x="1127448" y="3858008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33" name="テキスト ボックス 32"/>
          <p:cNvSpPr txBox="1"/>
          <p:nvPr/>
        </p:nvSpPr>
        <p:spPr>
          <a:xfrm>
            <a:off x="1127448" y="3978688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34" name="テキスト ボックス 33"/>
          <p:cNvSpPr txBox="1"/>
          <p:nvPr/>
        </p:nvSpPr>
        <p:spPr>
          <a:xfrm>
            <a:off x="1127448" y="4099368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35" name="テキスト ボックス 34"/>
          <p:cNvSpPr txBox="1"/>
          <p:nvPr/>
        </p:nvSpPr>
        <p:spPr>
          <a:xfrm>
            <a:off x="1127448" y="4219960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36" name="テキスト ボックス 35"/>
          <p:cNvSpPr txBox="1"/>
          <p:nvPr/>
        </p:nvSpPr>
        <p:spPr>
          <a:xfrm>
            <a:off x="1127448" y="4340552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37" name="テキスト ボックス 36"/>
          <p:cNvSpPr txBox="1"/>
          <p:nvPr/>
        </p:nvSpPr>
        <p:spPr>
          <a:xfrm>
            <a:off x="1127448" y="4458771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38" name="テキスト ボックス 37"/>
          <p:cNvSpPr txBox="1"/>
          <p:nvPr/>
        </p:nvSpPr>
        <p:spPr>
          <a:xfrm>
            <a:off x="1127448" y="4579363"/>
            <a:ext cx="144016" cy="1231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0</a:t>
            </a:r>
            <a:endParaRPr kumimoji="1" lang="ja-JP" altLang="en-US" sz="800" noProof="0" dirty="0" err="1" smtClean="0"/>
          </a:p>
        </p:txBody>
      </p:sp>
      <p:sp>
        <p:nvSpPr>
          <p:cNvPr id="39" name="テキスト ボックス 38"/>
          <p:cNvSpPr txBox="1"/>
          <p:nvPr/>
        </p:nvSpPr>
        <p:spPr>
          <a:xfrm>
            <a:off x="1127448" y="4699955"/>
            <a:ext cx="144016" cy="12311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1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800" noProof="0" dirty="0" smtClean="0"/>
              <a:t>1</a:t>
            </a:r>
            <a:endParaRPr kumimoji="1" lang="ja-JP" altLang="en-US" sz="800" noProof="0" dirty="0" err="1" smtClean="0"/>
          </a:p>
        </p:txBody>
      </p:sp>
      <p:sp>
        <p:nvSpPr>
          <p:cNvPr id="96" name="楕円 95"/>
          <p:cNvSpPr/>
          <p:nvPr/>
        </p:nvSpPr>
        <p:spPr>
          <a:xfrm>
            <a:off x="8041987" y="926309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97" name="楕円 96"/>
          <p:cNvSpPr/>
          <p:nvPr/>
        </p:nvSpPr>
        <p:spPr>
          <a:xfrm>
            <a:off x="8041986" y="1053685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98" name="楕円 97"/>
          <p:cNvSpPr/>
          <p:nvPr/>
        </p:nvSpPr>
        <p:spPr>
          <a:xfrm>
            <a:off x="8041985" y="1174837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99" name="楕円 98"/>
          <p:cNvSpPr/>
          <p:nvPr/>
        </p:nvSpPr>
        <p:spPr>
          <a:xfrm>
            <a:off x="8041987" y="1292347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0" name="楕円 99"/>
          <p:cNvSpPr/>
          <p:nvPr/>
        </p:nvSpPr>
        <p:spPr>
          <a:xfrm>
            <a:off x="8041986" y="1419723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1" name="楕円 100"/>
          <p:cNvSpPr/>
          <p:nvPr/>
        </p:nvSpPr>
        <p:spPr>
          <a:xfrm>
            <a:off x="8041985" y="1540875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2" name="楕円 101"/>
          <p:cNvSpPr/>
          <p:nvPr/>
        </p:nvSpPr>
        <p:spPr>
          <a:xfrm>
            <a:off x="8041987" y="1657861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3" name="楕円 102"/>
          <p:cNvSpPr/>
          <p:nvPr/>
        </p:nvSpPr>
        <p:spPr>
          <a:xfrm>
            <a:off x="8041986" y="1785237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4" name="楕円 103"/>
          <p:cNvSpPr/>
          <p:nvPr/>
        </p:nvSpPr>
        <p:spPr>
          <a:xfrm>
            <a:off x="8041985" y="1906389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5" name="楕円 104"/>
          <p:cNvSpPr/>
          <p:nvPr/>
        </p:nvSpPr>
        <p:spPr>
          <a:xfrm>
            <a:off x="8041987" y="2025205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6" name="楕円 105"/>
          <p:cNvSpPr/>
          <p:nvPr/>
        </p:nvSpPr>
        <p:spPr>
          <a:xfrm>
            <a:off x="8041986" y="2152581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7" name="楕円 106"/>
          <p:cNvSpPr/>
          <p:nvPr/>
        </p:nvSpPr>
        <p:spPr>
          <a:xfrm>
            <a:off x="8041985" y="2273733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8" name="楕円 107"/>
          <p:cNvSpPr/>
          <p:nvPr/>
        </p:nvSpPr>
        <p:spPr>
          <a:xfrm>
            <a:off x="8041987" y="2391243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09" name="楕円 108"/>
          <p:cNvSpPr/>
          <p:nvPr/>
        </p:nvSpPr>
        <p:spPr>
          <a:xfrm>
            <a:off x="8041986" y="2518619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0" name="楕円 109"/>
          <p:cNvSpPr/>
          <p:nvPr/>
        </p:nvSpPr>
        <p:spPr>
          <a:xfrm>
            <a:off x="8041985" y="2639771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1" name="楕円 110"/>
          <p:cNvSpPr/>
          <p:nvPr/>
        </p:nvSpPr>
        <p:spPr>
          <a:xfrm>
            <a:off x="8041987" y="2756757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2" name="楕円 111"/>
          <p:cNvSpPr/>
          <p:nvPr/>
        </p:nvSpPr>
        <p:spPr>
          <a:xfrm>
            <a:off x="8041986" y="2884133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3" name="楕円 112"/>
          <p:cNvSpPr/>
          <p:nvPr/>
        </p:nvSpPr>
        <p:spPr>
          <a:xfrm>
            <a:off x="8041985" y="3005285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4" name="楕円 113"/>
          <p:cNvSpPr/>
          <p:nvPr/>
        </p:nvSpPr>
        <p:spPr>
          <a:xfrm>
            <a:off x="8041987" y="3122271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5" name="楕円 114"/>
          <p:cNvSpPr/>
          <p:nvPr/>
        </p:nvSpPr>
        <p:spPr>
          <a:xfrm>
            <a:off x="8041986" y="3249647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6" name="楕円 115"/>
          <p:cNvSpPr/>
          <p:nvPr/>
        </p:nvSpPr>
        <p:spPr>
          <a:xfrm>
            <a:off x="8041985" y="3370799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7" name="楕円 116"/>
          <p:cNvSpPr/>
          <p:nvPr/>
        </p:nvSpPr>
        <p:spPr>
          <a:xfrm>
            <a:off x="8041985" y="3601059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8" name="楕円 117"/>
          <p:cNvSpPr/>
          <p:nvPr/>
        </p:nvSpPr>
        <p:spPr>
          <a:xfrm>
            <a:off x="8041984" y="3728435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9" name="楕円 118"/>
          <p:cNvSpPr/>
          <p:nvPr/>
        </p:nvSpPr>
        <p:spPr>
          <a:xfrm>
            <a:off x="8041983" y="3849587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20" name="楕円 119"/>
          <p:cNvSpPr/>
          <p:nvPr/>
        </p:nvSpPr>
        <p:spPr>
          <a:xfrm>
            <a:off x="8041985" y="3967097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21" name="楕円 120"/>
          <p:cNvSpPr/>
          <p:nvPr/>
        </p:nvSpPr>
        <p:spPr>
          <a:xfrm>
            <a:off x="8041984" y="4094473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22" name="楕円 121"/>
          <p:cNvSpPr/>
          <p:nvPr/>
        </p:nvSpPr>
        <p:spPr>
          <a:xfrm>
            <a:off x="8041983" y="4215625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23" name="楕円 122"/>
          <p:cNvSpPr/>
          <p:nvPr/>
        </p:nvSpPr>
        <p:spPr>
          <a:xfrm>
            <a:off x="8041985" y="4332611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24" name="楕円 123"/>
          <p:cNvSpPr/>
          <p:nvPr/>
        </p:nvSpPr>
        <p:spPr>
          <a:xfrm>
            <a:off x="8041984" y="4459987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25" name="楕円 124"/>
          <p:cNvSpPr/>
          <p:nvPr/>
        </p:nvSpPr>
        <p:spPr>
          <a:xfrm>
            <a:off x="8041983" y="4581139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26" name="楕円 125"/>
          <p:cNvSpPr/>
          <p:nvPr/>
        </p:nvSpPr>
        <p:spPr>
          <a:xfrm>
            <a:off x="8041985" y="4699955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27" name="楕円 126"/>
          <p:cNvSpPr/>
          <p:nvPr/>
        </p:nvSpPr>
        <p:spPr>
          <a:xfrm>
            <a:off x="8041984" y="4827331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28" name="楕円 127"/>
          <p:cNvSpPr/>
          <p:nvPr/>
        </p:nvSpPr>
        <p:spPr>
          <a:xfrm>
            <a:off x="8041983" y="4948483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29" name="楕円 128"/>
          <p:cNvSpPr/>
          <p:nvPr/>
        </p:nvSpPr>
        <p:spPr>
          <a:xfrm>
            <a:off x="8041985" y="5065993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30" name="楕円 129"/>
          <p:cNvSpPr/>
          <p:nvPr/>
        </p:nvSpPr>
        <p:spPr>
          <a:xfrm>
            <a:off x="8041984" y="5193369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31" name="楕円 130"/>
          <p:cNvSpPr/>
          <p:nvPr/>
        </p:nvSpPr>
        <p:spPr>
          <a:xfrm>
            <a:off x="8041983" y="5314521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32" name="楕円 131"/>
          <p:cNvSpPr/>
          <p:nvPr/>
        </p:nvSpPr>
        <p:spPr>
          <a:xfrm>
            <a:off x="8041985" y="5431507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33" name="楕円 132"/>
          <p:cNvSpPr/>
          <p:nvPr/>
        </p:nvSpPr>
        <p:spPr>
          <a:xfrm>
            <a:off x="8041984" y="5558883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34" name="楕円 133"/>
          <p:cNvSpPr/>
          <p:nvPr/>
        </p:nvSpPr>
        <p:spPr>
          <a:xfrm>
            <a:off x="8041983" y="5680035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35" name="楕円 134"/>
          <p:cNvSpPr/>
          <p:nvPr/>
        </p:nvSpPr>
        <p:spPr>
          <a:xfrm>
            <a:off x="8041985" y="5797021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36" name="楕円 135"/>
          <p:cNvSpPr/>
          <p:nvPr/>
        </p:nvSpPr>
        <p:spPr>
          <a:xfrm>
            <a:off x="8041984" y="5924397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37" name="楕円 136"/>
          <p:cNvSpPr/>
          <p:nvPr/>
        </p:nvSpPr>
        <p:spPr>
          <a:xfrm>
            <a:off x="8041983" y="6045549"/>
            <a:ext cx="119755" cy="119755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195" name="直線矢印コネクタ 194"/>
          <p:cNvCxnSpPr>
            <a:stCxn id="19" idx="3"/>
            <a:endCxn id="13" idx="2"/>
          </p:cNvCxnSpPr>
          <p:nvPr/>
        </p:nvCxnSpPr>
        <p:spPr>
          <a:xfrm>
            <a:off x="1271464" y="2336402"/>
            <a:ext cx="4095881" cy="413713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直線矢印コネクタ 197"/>
          <p:cNvCxnSpPr>
            <a:stCxn id="19" idx="3"/>
            <a:endCxn id="14" idx="2"/>
          </p:cNvCxnSpPr>
          <p:nvPr/>
        </p:nvCxnSpPr>
        <p:spPr>
          <a:xfrm>
            <a:off x="1271464" y="2336402"/>
            <a:ext cx="4106227" cy="812916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直線矢印コネクタ 198"/>
          <p:cNvCxnSpPr>
            <a:stCxn id="19" idx="3"/>
            <a:endCxn id="15" idx="2"/>
          </p:cNvCxnSpPr>
          <p:nvPr/>
        </p:nvCxnSpPr>
        <p:spPr>
          <a:xfrm>
            <a:off x="1271464" y="2336402"/>
            <a:ext cx="4095881" cy="1213169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直線矢印コネクタ 199"/>
          <p:cNvCxnSpPr>
            <a:stCxn id="19" idx="3"/>
            <a:endCxn id="16" idx="2"/>
          </p:cNvCxnSpPr>
          <p:nvPr/>
        </p:nvCxnSpPr>
        <p:spPr>
          <a:xfrm>
            <a:off x="1271464" y="2336402"/>
            <a:ext cx="4095881" cy="1617126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直線矢印コネクタ 200"/>
          <p:cNvCxnSpPr>
            <a:stCxn id="19" idx="3"/>
            <a:endCxn id="17" idx="2"/>
          </p:cNvCxnSpPr>
          <p:nvPr/>
        </p:nvCxnSpPr>
        <p:spPr>
          <a:xfrm>
            <a:off x="1271464" y="2336402"/>
            <a:ext cx="4106227" cy="2021083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直線矢印コネクタ 82"/>
          <p:cNvCxnSpPr>
            <a:stCxn id="39" idx="3"/>
            <a:endCxn id="13" idx="2"/>
          </p:cNvCxnSpPr>
          <p:nvPr/>
        </p:nvCxnSpPr>
        <p:spPr>
          <a:xfrm flipV="1">
            <a:off x="1271464" y="2750115"/>
            <a:ext cx="4095881" cy="2011396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直線矢印コネクタ 83"/>
          <p:cNvCxnSpPr>
            <a:stCxn id="39" idx="3"/>
            <a:endCxn id="14" idx="2"/>
          </p:cNvCxnSpPr>
          <p:nvPr/>
        </p:nvCxnSpPr>
        <p:spPr>
          <a:xfrm flipV="1">
            <a:off x="1271464" y="3149318"/>
            <a:ext cx="4106227" cy="1612193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直線矢印コネクタ 86"/>
          <p:cNvCxnSpPr>
            <a:stCxn id="39" idx="3"/>
            <a:endCxn id="15" idx="2"/>
          </p:cNvCxnSpPr>
          <p:nvPr/>
        </p:nvCxnSpPr>
        <p:spPr>
          <a:xfrm flipV="1">
            <a:off x="1271464" y="3549571"/>
            <a:ext cx="4095881" cy="121194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直線矢印コネクタ 89"/>
          <p:cNvCxnSpPr>
            <a:stCxn id="39" idx="3"/>
            <a:endCxn id="16" idx="2"/>
          </p:cNvCxnSpPr>
          <p:nvPr/>
        </p:nvCxnSpPr>
        <p:spPr>
          <a:xfrm flipV="1">
            <a:off x="1271464" y="3953528"/>
            <a:ext cx="4095881" cy="807983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直線矢印コネクタ 92"/>
          <p:cNvCxnSpPr>
            <a:stCxn id="39" idx="3"/>
            <a:endCxn id="17" idx="2"/>
          </p:cNvCxnSpPr>
          <p:nvPr/>
        </p:nvCxnSpPr>
        <p:spPr>
          <a:xfrm flipV="1">
            <a:off x="1271464" y="4357485"/>
            <a:ext cx="4106227" cy="404026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フリーフォーム 231"/>
          <p:cNvSpPr/>
          <p:nvPr/>
        </p:nvSpPr>
        <p:spPr>
          <a:xfrm>
            <a:off x="5734374" y="982924"/>
            <a:ext cx="2306058" cy="3396023"/>
          </a:xfrm>
          <a:custGeom>
            <a:avLst/>
            <a:gdLst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76362 w 1376362"/>
              <a:gd name="connsiteY3" fmla="*/ 447675 h 2162175"/>
              <a:gd name="connsiteX4" fmla="*/ 9525 w 1376362"/>
              <a:gd name="connsiteY4" fmla="*/ 0 h 2162175"/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66780 w 1376362"/>
              <a:gd name="connsiteY3" fmla="*/ 471318 h 2162175"/>
              <a:gd name="connsiteX4" fmla="*/ 9525 w 1376362"/>
              <a:gd name="connsiteY4" fmla="*/ 0 h 2162175"/>
              <a:gd name="connsiteX0" fmla="*/ 9525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9525 w 1371571"/>
              <a:gd name="connsiteY4" fmla="*/ 0 h 2162175"/>
              <a:gd name="connsiteX0" fmla="*/ 2339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2339 w 1371571"/>
              <a:gd name="connsiteY4" fmla="*/ 0 h 2162175"/>
              <a:gd name="connsiteX0" fmla="*/ 102 w 1369334"/>
              <a:gd name="connsiteY0" fmla="*/ 0 h 2066925"/>
              <a:gd name="connsiteX1" fmla="*/ 2555 w 1369334"/>
              <a:gd name="connsiteY1" fmla="*/ 1625471 h 2066925"/>
              <a:gd name="connsiteX2" fmla="*/ 1369334 w 1369334"/>
              <a:gd name="connsiteY2" fmla="*/ 2066925 h 2066925"/>
              <a:gd name="connsiteX3" fmla="*/ 1364543 w 1369334"/>
              <a:gd name="connsiteY3" fmla="*/ 471318 h 2066925"/>
              <a:gd name="connsiteX4" fmla="*/ 102 w 1369334"/>
              <a:gd name="connsiteY4" fmla="*/ 0 h 2066925"/>
              <a:gd name="connsiteX0" fmla="*/ 102 w 2317967"/>
              <a:gd name="connsiteY0" fmla="*/ 1614024 h 3680949"/>
              <a:gd name="connsiteX1" fmla="*/ 2555 w 2317967"/>
              <a:gd name="connsiteY1" fmla="*/ 3239495 h 3680949"/>
              <a:gd name="connsiteX2" fmla="*/ 1369334 w 2317967"/>
              <a:gd name="connsiteY2" fmla="*/ 3680949 h 3680949"/>
              <a:gd name="connsiteX3" fmla="*/ 2317967 w 2317967"/>
              <a:gd name="connsiteY3" fmla="*/ 0 h 3680949"/>
              <a:gd name="connsiteX4" fmla="*/ 102 w 2317967"/>
              <a:gd name="connsiteY4" fmla="*/ 1614024 h 3680949"/>
              <a:gd name="connsiteX0" fmla="*/ 102 w 2317967"/>
              <a:gd name="connsiteY0" fmla="*/ 1614024 h 3239495"/>
              <a:gd name="connsiteX1" fmla="*/ 2555 w 2317967"/>
              <a:gd name="connsiteY1" fmla="*/ 3239495 h 3239495"/>
              <a:gd name="connsiteX2" fmla="*/ 2313175 w 2317967"/>
              <a:gd name="connsiteY2" fmla="*/ 2191419 h 3239495"/>
              <a:gd name="connsiteX3" fmla="*/ 2317967 w 2317967"/>
              <a:gd name="connsiteY3" fmla="*/ 0 h 3239495"/>
              <a:gd name="connsiteX4" fmla="*/ 102 w 2317967"/>
              <a:gd name="connsiteY4" fmla="*/ 1614024 h 3239495"/>
              <a:gd name="connsiteX0" fmla="*/ 102 w 2319894"/>
              <a:gd name="connsiteY0" fmla="*/ 1614024 h 3239495"/>
              <a:gd name="connsiteX1" fmla="*/ 2555 w 2319894"/>
              <a:gd name="connsiteY1" fmla="*/ 3239495 h 3239495"/>
              <a:gd name="connsiteX2" fmla="*/ 2319564 w 2319894"/>
              <a:gd name="connsiteY2" fmla="*/ 2308059 h 3239495"/>
              <a:gd name="connsiteX3" fmla="*/ 2317967 w 2319894"/>
              <a:gd name="connsiteY3" fmla="*/ 0 h 3239495"/>
              <a:gd name="connsiteX4" fmla="*/ 102 w 2319894"/>
              <a:gd name="connsiteY4" fmla="*/ 1614024 h 3239495"/>
              <a:gd name="connsiteX0" fmla="*/ 102 w 2319894"/>
              <a:gd name="connsiteY0" fmla="*/ 1746427 h 3371898"/>
              <a:gd name="connsiteX1" fmla="*/ 2555 w 2319894"/>
              <a:gd name="connsiteY1" fmla="*/ 3371898 h 3371898"/>
              <a:gd name="connsiteX2" fmla="*/ 2319564 w 2319894"/>
              <a:gd name="connsiteY2" fmla="*/ 2440462 h 3371898"/>
              <a:gd name="connsiteX3" fmla="*/ 2317968 w 2319894"/>
              <a:gd name="connsiteY3" fmla="*/ 0 h 3371898"/>
              <a:gd name="connsiteX4" fmla="*/ 102 w 2319894"/>
              <a:gd name="connsiteY4" fmla="*/ 1746427 h 3371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19894" h="3371898">
                <a:moveTo>
                  <a:pt x="102" y="1746427"/>
                </a:moveTo>
                <a:cubicBezTo>
                  <a:pt x="-678" y="2467152"/>
                  <a:pt x="3335" y="2651173"/>
                  <a:pt x="2555" y="3371898"/>
                </a:cubicBezTo>
                <a:lnTo>
                  <a:pt x="2319564" y="2440462"/>
                </a:lnTo>
                <a:cubicBezTo>
                  <a:pt x="2321161" y="1709989"/>
                  <a:pt x="2316371" y="730473"/>
                  <a:pt x="2317968" y="0"/>
                </a:cubicBezTo>
                <a:lnTo>
                  <a:pt x="102" y="1746427"/>
                </a:lnTo>
                <a:close/>
              </a:path>
            </a:pathLst>
          </a:custGeom>
          <a:solidFill>
            <a:schemeClr val="tx2">
              <a:lumMod val="40000"/>
              <a:lumOff val="60000"/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233" name="フリーフォーム 232"/>
          <p:cNvSpPr/>
          <p:nvPr/>
        </p:nvSpPr>
        <p:spPr>
          <a:xfrm>
            <a:off x="5735960" y="2758291"/>
            <a:ext cx="2307319" cy="3362826"/>
          </a:xfrm>
          <a:custGeom>
            <a:avLst/>
            <a:gdLst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76362 w 1376362"/>
              <a:gd name="connsiteY3" fmla="*/ 447675 h 2162175"/>
              <a:gd name="connsiteX4" fmla="*/ 9525 w 1376362"/>
              <a:gd name="connsiteY4" fmla="*/ 0 h 2162175"/>
              <a:gd name="connsiteX0" fmla="*/ 9525 w 1376362"/>
              <a:gd name="connsiteY0" fmla="*/ 0 h 2162175"/>
              <a:gd name="connsiteX1" fmla="*/ 0 w 1376362"/>
              <a:gd name="connsiteY1" fmla="*/ 2162175 h 2162175"/>
              <a:gd name="connsiteX2" fmla="*/ 1376362 w 1376362"/>
              <a:gd name="connsiteY2" fmla="*/ 2066925 h 2162175"/>
              <a:gd name="connsiteX3" fmla="*/ 1366780 w 1376362"/>
              <a:gd name="connsiteY3" fmla="*/ 471318 h 2162175"/>
              <a:gd name="connsiteX4" fmla="*/ 9525 w 1376362"/>
              <a:gd name="connsiteY4" fmla="*/ 0 h 2162175"/>
              <a:gd name="connsiteX0" fmla="*/ 9525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9525 w 1371571"/>
              <a:gd name="connsiteY4" fmla="*/ 0 h 2162175"/>
              <a:gd name="connsiteX0" fmla="*/ 2339 w 1371571"/>
              <a:gd name="connsiteY0" fmla="*/ 0 h 2162175"/>
              <a:gd name="connsiteX1" fmla="*/ 0 w 1371571"/>
              <a:gd name="connsiteY1" fmla="*/ 2162175 h 2162175"/>
              <a:gd name="connsiteX2" fmla="*/ 1371571 w 1371571"/>
              <a:gd name="connsiteY2" fmla="*/ 2066925 h 2162175"/>
              <a:gd name="connsiteX3" fmla="*/ 1366780 w 1371571"/>
              <a:gd name="connsiteY3" fmla="*/ 471318 h 2162175"/>
              <a:gd name="connsiteX4" fmla="*/ 2339 w 1371571"/>
              <a:gd name="connsiteY4" fmla="*/ 0 h 2162175"/>
              <a:gd name="connsiteX0" fmla="*/ 102 w 1369334"/>
              <a:gd name="connsiteY0" fmla="*/ 0 h 2066925"/>
              <a:gd name="connsiteX1" fmla="*/ 2555 w 1369334"/>
              <a:gd name="connsiteY1" fmla="*/ 1625471 h 2066925"/>
              <a:gd name="connsiteX2" fmla="*/ 1369334 w 1369334"/>
              <a:gd name="connsiteY2" fmla="*/ 2066925 h 2066925"/>
              <a:gd name="connsiteX3" fmla="*/ 1364543 w 1369334"/>
              <a:gd name="connsiteY3" fmla="*/ 471318 h 2066925"/>
              <a:gd name="connsiteX4" fmla="*/ 102 w 1369334"/>
              <a:gd name="connsiteY4" fmla="*/ 0 h 2066925"/>
              <a:gd name="connsiteX0" fmla="*/ 102 w 2317967"/>
              <a:gd name="connsiteY0" fmla="*/ 1614024 h 3680949"/>
              <a:gd name="connsiteX1" fmla="*/ 2555 w 2317967"/>
              <a:gd name="connsiteY1" fmla="*/ 3239495 h 3680949"/>
              <a:gd name="connsiteX2" fmla="*/ 1369334 w 2317967"/>
              <a:gd name="connsiteY2" fmla="*/ 3680949 h 3680949"/>
              <a:gd name="connsiteX3" fmla="*/ 2317967 w 2317967"/>
              <a:gd name="connsiteY3" fmla="*/ 0 h 3680949"/>
              <a:gd name="connsiteX4" fmla="*/ 102 w 2317967"/>
              <a:gd name="connsiteY4" fmla="*/ 1614024 h 3680949"/>
              <a:gd name="connsiteX0" fmla="*/ 102 w 2317967"/>
              <a:gd name="connsiteY0" fmla="*/ 1614024 h 3239495"/>
              <a:gd name="connsiteX1" fmla="*/ 2555 w 2317967"/>
              <a:gd name="connsiteY1" fmla="*/ 3239495 h 3239495"/>
              <a:gd name="connsiteX2" fmla="*/ 2313175 w 2317967"/>
              <a:gd name="connsiteY2" fmla="*/ 2191419 h 3239495"/>
              <a:gd name="connsiteX3" fmla="*/ 2317967 w 2317967"/>
              <a:gd name="connsiteY3" fmla="*/ 0 h 3239495"/>
              <a:gd name="connsiteX4" fmla="*/ 102 w 2317967"/>
              <a:gd name="connsiteY4" fmla="*/ 1614024 h 3239495"/>
              <a:gd name="connsiteX0" fmla="*/ 102 w 2319894"/>
              <a:gd name="connsiteY0" fmla="*/ 1614024 h 3239495"/>
              <a:gd name="connsiteX1" fmla="*/ 2555 w 2319894"/>
              <a:gd name="connsiteY1" fmla="*/ 3239495 h 3239495"/>
              <a:gd name="connsiteX2" fmla="*/ 2319564 w 2319894"/>
              <a:gd name="connsiteY2" fmla="*/ 2308059 h 3239495"/>
              <a:gd name="connsiteX3" fmla="*/ 2317967 w 2319894"/>
              <a:gd name="connsiteY3" fmla="*/ 0 h 3239495"/>
              <a:gd name="connsiteX4" fmla="*/ 102 w 2319894"/>
              <a:gd name="connsiteY4" fmla="*/ 1614024 h 3239495"/>
              <a:gd name="connsiteX0" fmla="*/ 102 w 2319894"/>
              <a:gd name="connsiteY0" fmla="*/ 1746427 h 3371898"/>
              <a:gd name="connsiteX1" fmla="*/ 2555 w 2319894"/>
              <a:gd name="connsiteY1" fmla="*/ 3371898 h 3371898"/>
              <a:gd name="connsiteX2" fmla="*/ 2319564 w 2319894"/>
              <a:gd name="connsiteY2" fmla="*/ 2440462 h 3371898"/>
              <a:gd name="connsiteX3" fmla="*/ 2317968 w 2319894"/>
              <a:gd name="connsiteY3" fmla="*/ 0 h 3371898"/>
              <a:gd name="connsiteX4" fmla="*/ 102 w 2319894"/>
              <a:gd name="connsiteY4" fmla="*/ 1746427 h 3371898"/>
              <a:gd name="connsiteX0" fmla="*/ 102 w 2324357"/>
              <a:gd name="connsiteY0" fmla="*/ 731340 h 2356811"/>
              <a:gd name="connsiteX1" fmla="*/ 2555 w 2324357"/>
              <a:gd name="connsiteY1" fmla="*/ 2356811 h 2356811"/>
              <a:gd name="connsiteX2" fmla="*/ 2319564 w 2324357"/>
              <a:gd name="connsiteY2" fmla="*/ 1425375 h 2356811"/>
              <a:gd name="connsiteX3" fmla="*/ 2324357 w 2324357"/>
              <a:gd name="connsiteY3" fmla="*/ 0 h 2356811"/>
              <a:gd name="connsiteX4" fmla="*/ 102 w 2324357"/>
              <a:gd name="connsiteY4" fmla="*/ 731340 h 2356811"/>
              <a:gd name="connsiteX0" fmla="*/ 3935 w 2321802"/>
              <a:gd name="connsiteY0" fmla="*/ 0 h 3277353"/>
              <a:gd name="connsiteX1" fmla="*/ 0 w 2321802"/>
              <a:gd name="connsiteY1" fmla="*/ 3277353 h 3277353"/>
              <a:gd name="connsiteX2" fmla="*/ 2317009 w 2321802"/>
              <a:gd name="connsiteY2" fmla="*/ 2345917 h 3277353"/>
              <a:gd name="connsiteX3" fmla="*/ 2321802 w 2321802"/>
              <a:gd name="connsiteY3" fmla="*/ 920542 h 3277353"/>
              <a:gd name="connsiteX4" fmla="*/ 3935 w 2321802"/>
              <a:gd name="connsiteY4" fmla="*/ 0 h 3277353"/>
              <a:gd name="connsiteX0" fmla="*/ 102 w 2317969"/>
              <a:gd name="connsiteY0" fmla="*/ 0 h 2345917"/>
              <a:gd name="connsiteX1" fmla="*/ 2555 w 2317969"/>
              <a:gd name="connsiteY1" fmla="*/ 1600252 h 2345917"/>
              <a:gd name="connsiteX2" fmla="*/ 2313176 w 2317969"/>
              <a:gd name="connsiteY2" fmla="*/ 2345917 h 2345917"/>
              <a:gd name="connsiteX3" fmla="*/ 2317969 w 2317969"/>
              <a:gd name="connsiteY3" fmla="*/ 920542 h 2345917"/>
              <a:gd name="connsiteX4" fmla="*/ 102 w 2317969"/>
              <a:gd name="connsiteY4" fmla="*/ 0 h 2345917"/>
              <a:gd name="connsiteX0" fmla="*/ 102 w 2317969"/>
              <a:gd name="connsiteY0" fmla="*/ 0 h 3348395"/>
              <a:gd name="connsiteX1" fmla="*/ 2555 w 2317969"/>
              <a:gd name="connsiteY1" fmla="*/ 1600252 h 3348395"/>
              <a:gd name="connsiteX2" fmla="*/ 2313176 w 2317969"/>
              <a:gd name="connsiteY2" fmla="*/ 3348395 h 3348395"/>
              <a:gd name="connsiteX3" fmla="*/ 2317969 w 2317969"/>
              <a:gd name="connsiteY3" fmla="*/ 920542 h 3348395"/>
              <a:gd name="connsiteX4" fmla="*/ 102 w 2317969"/>
              <a:gd name="connsiteY4" fmla="*/ 0 h 3348395"/>
              <a:gd name="connsiteX0" fmla="*/ 102 w 2321163"/>
              <a:gd name="connsiteY0" fmla="*/ 0 h 3348395"/>
              <a:gd name="connsiteX1" fmla="*/ 2555 w 2321163"/>
              <a:gd name="connsiteY1" fmla="*/ 1600252 h 3348395"/>
              <a:gd name="connsiteX2" fmla="*/ 2313176 w 2321163"/>
              <a:gd name="connsiteY2" fmla="*/ 3348395 h 3348395"/>
              <a:gd name="connsiteX3" fmla="*/ 2321163 w 2321163"/>
              <a:gd name="connsiteY3" fmla="*/ 889018 h 3348395"/>
              <a:gd name="connsiteX4" fmla="*/ 102 w 2321163"/>
              <a:gd name="connsiteY4" fmla="*/ 0 h 3348395"/>
              <a:gd name="connsiteX0" fmla="*/ 102 w 2321163"/>
              <a:gd name="connsiteY0" fmla="*/ 0 h 3338938"/>
              <a:gd name="connsiteX1" fmla="*/ 2555 w 2321163"/>
              <a:gd name="connsiteY1" fmla="*/ 1600252 h 3338938"/>
              <a:gd name="connsiteX2" fmla="*/ 2313176 w 2321163"/>
              <a:gd name="connsiteY2" fmla="*/ 3338938 h 3338938"/>
              <a:gd name="connsiteX3" fmla="*/ 2321163 w 2321163"/>
              <a:gd name="connsiteY3" fmla="*/ 889018 h 3338938"/>
              <a:gd name="connsiteX4" fmla="*/ 102 w 2321163"/>
              <a:gd name="connsiteY4" fmla="*/ 0 h 333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21163" h="3338938">
                <a:moveTo>
                  <a:pt x="102" y="0"/>
                </a:moveTo>
                <a:cubicBezTo>
                  <a:pt x="-678" y="720725"/>
                  <a:pt x="3335" y="879527"/>
                  <a:pt x="2555" y="1600252"/>
                </a:cubicBezTo>
                <a:lnTo>
                  <a:pt x="2313176" y="3338938"/>
                </a:lnTo>
                <a:cubicBezTo>
                  <a:pt x="2314773" y="2608465"/>
                  <a:pt x="2319566" y="1619491"/>
                  <a:pt x="2321163" y="889018"/>
                </a:cubicBezTo>
                <a:lnTo>
                  <a:pt x="102" y="0"/>
                </a:lnTo>
                <a:close/>
              </a:path>
            </a:pathLst>
          </a:custGeom>
          <a:solidFill>
            <a:schemeClr val="tx2">
              <a:lumMod val="40000"/>
              <a:lumOff val="60000"/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234" name="直線矢印コネクタ 233"/>
          <p:cNvCxnSpPr>
            <a:stCxn id="13" idx="6"/>
            <a:endCxn id="232" idx="3"/>
          </p:cNvCxnSpPr>
          <p:nvPr/>
        </p:nvCxnSpPr>
        <p:spPr>
          <a:xfrm flipV="1">
            <a:off x="5727385" y="982924"/>
            <a:ext cx="2311132" cy="1767191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直線矢印コネクタ 236"/>
          <p:cNvCxnSpPr>
            <a:stCxn id="17" idx="6"/>
            <a:endCxn id="116" idx="2"/>
          </p:cNvCxnSpPr>
          <p:nvPr/>
        </p:nvCxnSpPr>
        <p:spPr>
          <a:xfrm flipV="1">
            <a:off x="5737731" y="3430677"/>
            <a:ext cx="2304254" cy="926808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直線矢印コネクタ 239"/>
          <p:cNvCxnSpPr>
            <a:stCxn id="17" idx="6"/>
            <a:endCxn id="233" idx="2"/>
          </p:cNvCxnSpPr>
          <p:nvPr/>
        </p:nvCxnSpPr>
        <p:spPr>
          <a:xfrm>
            <a:off x="5737731" y="4357485"/>
            <a:ext cx="2297609" cy="1763632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直線矢印コネクタ 242"/>
          <p:cNvCxnSpPr>
            <a:stCxn id="13" idx="6"/>
            <a:endCxn id="233" idx="3"/>
          </p:cNvCxnSpPr>
          <p:nvPr/>
        </p:nvCxnSpPr>
        <p:spPr>
          <a:xfrm>
            <a:off x="5727385" y="2750115"/>
            <a:ext cx="2315894" cy="903554"/>
          </a:xfrm>
          <a:prstGeom prst="straightConnector1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テキスト ボックス 275"/>
          <p:cNvSpPr txBox="1"/>
          <p:nvPr/>
        </p:nvSpPr>
        <p:spPr>
          <a:xfrm>
            <a:off x="5176328" y="2263725"/>
            <a:ext cx="7627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ja-JP" altLang="en-US" sz="1600" noProof="0" dirty="0" smtClean="0"/>
              <a:t>レイヤー</a:t>
            </a:r>
            <a:r>
              <a:rPr kumimoji="1" lang="en-US" altLang="ja-JP" sz="1600" noProof="0" dirty="0" smtClean="0"/>
              <a:t>1</a:t>
            </a:r>
            <a:endParaRPr kumimoji="1" lang="ja-JP" altLang="en-US" sz="1600" noProof="0" dirty="0" smtClean="0"/>
          </a:p>
        </p:txBody>
      </p:sp>
      <p:sp>
        <p:nvSpPr>
          <p:cNvPr id="277" name="テキスト ボックス 276"/>
          <p:cNvSpPr txBox="1"/>
          <p:nvPr/>
        </p:nvSpPr>
        <p:spPr>
          <a:xfrm>
            <a:off x="7720477" y="655808"/>
            <a:ext cx="7627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ja-JP" altLang="en-US" sz="1600" noProof="0" dirty="0" smtClean="0"/>
              <a:t>レイヤー</a:t>
            </a:r>
            <a:r>
              <a:rPr kumimoji="1" lang="en-US" altLang="ja-JP" sz="1600" noProof="0" dirty="0" smtClean="0"/>
              <a:t>2</a:t>
            </a:r>
            <a:endParaRPr kumimoji="1" lang="ja-JP" altLang="en-US" sz="1600" noProof="0" dirty="0" smtClean="0"/>
          </a:p>
        </p:txBody>
      </p:sp>
      <p:sp>
        <p:nvSpPr>
          <p:cNvPr id="4" name="テキスト ボックス 3"/>
          <p:cNvSpPr txBox="1"/>
          <p:nvPr/>
        </p:nvSpPr>
        <p:spPr>
          <a:xfrm>
            <a:off x="4245387" y="3079708"/>
            <a:ext cx="432048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600" noProof="0" dirty="0" smtClean="0"/>
              <a:t>0.52</a:t>
            </a:r>
            <a:endParaRPr kumimoji="1" lang="ja-JP" altLang="en-US" sz="1600" noProof="0" dirty="0" err="1" smtClean="0"/>
          </a:p>
        </p:txBody>
      </p:sp>
      <p:sp>
        <p:nvSpPr>
          <p:cNvPr id="138" name="テキスト ボックス 137"/>
          <p:cNvSpPr txBox="1"/>
          <p:nvPr/>
        </p:nvSpPr>
        <p:spPr>
          <a:xfrm>
            <a:off x="4245387" y="3387485"/>
            <a:ext cx="432048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600" noProof="0" dirty="0" smtClean="0"/>
              <a:t>0.12</a:t>
            </a:r>
            <a:endParaRPr kumimoji="1" lang="ja-JP" altLang="en-US" sz="1600" noProof="0" dirty="0" err="1" smtClean="0"/>
          </a:p>
        </p:txBody>
      </p:sp>
      <p:sp>
        <p:nvSpPr>
          <p:cNvPr id="141" name="テキスト ボックス 140"/>
          <p:cNvSpPr txBox="1"/>
          <p:nvPr/>
        </p:nvSpPr>
        <p:spPr>
          <a:xfrm>
            <a:off x="4248215" y="3697414"/>
            <a:ext cx="432048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600" noProof="0" dirty="0" smtClean="0"/>
              <a:t>0.02</a:t>
            </a:r>
            <a:endParaRPr kumimoji="1" lang="ja-JP" altLang="en-US" sz="1600" noProof="0" dirty="0" err="1" smtClean="0"/>
          </a:p>
        </p:txBody>
      </p:sp>
      <p:sp>
        <p:nvSpPr>
          <p:cNvPr id="142" name="テキスト ボックス 141"/>
          <p:cNvSpPr txBox="1"/>
          <p:nvPr/>
        </p:nvSpPr>
        <p:spPr>
          <a:xfrm>
            <a:off x="4250337" y="4011234"/>
            <a:ext cx="432048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600" noProof="0" dirty="0" smtClean="0"/>
              <a:t>0.22</a:t>
            </a:r>
            <a:endParaRPr kumimoji="1" lang="ja-JP" altLang="en-US" sz="1600" noProof="0" dirty="0" err="1" smtClean="0"/>
          </a:p>
        </p:txBody>
      </p:sp>
      <p:sp>
        <p:nvSpPr>
          <p:cNvPr id="143" name="テキスト ボックス 142"/>
          <p:cNvSpPr txBox="1"/>
          <p:nvPr/>
        </p:nvSpPr>
        <p:spPr>
          <a:xfrm>
            <a:off x="4245387" y="4325441"/>
            <a:ext cx="432048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600" noProof="0" dirty="0" smtClean="0"/>
              <a:t>0.12</a:t>
            </a:r>
            <a:endParaRPr kumimoji="1" lang="ja-JP" altLang="en-US" sz="1600" noProof="0" dirty="0" err="1" smtClean="0"/>
          </a:p>
        </p:txBody>
      </p:sp>
      <p:sp>
        <p:nvSpPr>
          <p:cNvPr id="5" name="角丸四角形 4"/>
          <p:cNvSpPr/>
          <p:nvPr/>
        </p:nvSpPr>
        <p:spPr>
          <a:xfrm>
            <a:off x="4151784" y="2969298"/>
            <a:ext cx="648072" cy="1730657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44" name="テキスト ボックス 143"/>
          <p:cNvSpPr txBox="1"/>
          <p:nvPr/>
        </p:nvSpPr>
        <p:spPr>
          <a:xfrm>
            <a:off x="547220" y="4981724"/>
            <a:ext cx="2308708" cy="4462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200" noProof="0" dirty="0" smtClean="0"/>
              <a:t>“was”</a:t>
            </a:r>
            <a:r>
              <a:rPr kumimoji="1" lang="ja-JP" altLang="en-US" sz="1200" noProof="0" dirty="0" smtClean="0"/>
              <a:t>の</a:t>
            </a:r>
            <a:r>
              <a:rPr kumimoji="1" lang="en-US" altLang="ja-JP" sz="1200" noProof="0" dirty="0" smtClean="0"/>
              <a:t>ID=20</a:t>
            </a:r>
            <a:r>
              <a:rPr kumimoji="1" lang="ja-JP" altLang="en-US" sz="1200" noProof="0" dirty="0" smtClean="0"/>
              <a:t>を</a:t>
            </a:r>
            <a:endParaRPr kumimoji="1" lang="en-US" altLang="ja-JP" sz="1200" noProof="0" dirty="0" smtClean="0"/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200" noProof="0" dirty="0" smtClean="0"/>
              <a:t>one-hot</a:t>
            </a:r>
            <a:r>
              <a:rPr kumimoji="1" lang="ja-JP" altLang="en-US" sz="1200" noProof="0" dirty="0" smtClean="0"/>
              <a:t>形式表現したもの。</a:t>
            </a:r>
          </a:p>
        </p:txBody>
      </p:sp>
      <p:sp>
        <p:nvSpPr>
          <p:cNvPr id="145" name="テキスト ボックス 144"/>
          <p:cNvSpPr txBox="1"/>
          <p:nvPr/>
        </p:nvSpPr>
        <p:spPr>
          <a:xfrm>
            <a:off x="2167461" y="2408327"/>
            <a:ext cx="432048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600" noProof="0" dirty="0" smtClean="0"/>
              <a:t>0.52</a:t>
            </a:r>
            <a:endParaRPr kumimoji="1" lang="ja-JP" altLang="en-US" sz="1600" noProof="0" dirty="0" err="1" smtClean="0"/>
          </a:p>
        </p:txBody>
      </p:sp>
      <p:sp>
        <p:nvSpPr>
          <p:cNvPr id="146" name="テキスト ボックス 145"/>
          <p:cNvSpPr txBox="1"/>
          <p:nvPr/>
        </p:nvSpPr>
        <p:spPr>
          <a:xfrm>
            <a:off x="2561428" y="2590701"/>
            <a:ext cx="432048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600" noProof="0" dirty="0" smtClean="0"/>
              <a:t>0.12</a:t>
            </a:r>
            <a:endParaRPr kumimoji="1" lang="ja-JP" altLang="en-US" sz="1600" noProof="0" dirty="0" err="1" smtClean="0"/>
          </a:p>
        </p:txBody>
      </p:sp>
      <p:sp>
        <p:nvSpPr>
          <p:cNvPr id="147" name="テキスト ボックス 146"/>
          <p:cNvSpPr txBox="1"/>
          <p:nvPr/>
        </p:nvSpPr>
        <p:spPr>
          <a:xfrm>
            <a:off x="2881939" y="2804878"/>
            <a:ext cx="432048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600" noProof="0" dirty="0" smtClean="0"/>
              <a:t>0.02</a:t>
            </a:r>
            <a:endParaRPr kumimoji="1" lang="ja-JP" altLang="en-US" sz="1600" noProof="0" dirty="0" err="1" smtClean="0"/>
          </a:p>
        </p:txBody>
      </p:sp>
      <p:sp>
        <p:nvSpPr>
          <p:cNvPr id="148" name="テキスト ボックス 147"/>
          <p:cNvSpPr txBox="1"/>
          <p:nvPr/>
        </p:nvSpPr>
        <p:spPr>
          <a:xfrm>
            <a:off x="3115775" y="3062029"/>
            <a:ext cx="432048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600" noProof="0" dirty="0" smtClean="0"/>
              <a:t>0.22</a:t>
            </a:r>
            <a:endParaRPr kumimoji="1" lang="ja-JP" altLang="en-US" sz="1600" noProof="0" dirty="0" err="1" smtClean="0"/>
          </a:p>
        </p:txBody>
      </p:sp>
      <p:sp>
        <p:nvSpPr>
          <p:cNvPr id="149" name="テキスト ボックス 148"/>
          <p:cNvSpPr txBox="1"/>
          <p:nvPr/>
        </p:nvSpPr>
        <p:spPr>
          <a:xfrm>
            <a:off x="3333198" y="3288366"/>
            <a:ext cx="432048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600" noProof="0" dirty="0" smtClean="0"/>
              <a:t>0.12</a:t>
            </a:r>
            <a:endParaRPr kumimoji="1" lang="ja-JP" altLang="en-US" sz="1600" noProof="0" dirty="0" err="1" smtClean="0"/>
          </a:p>
        </p:txBody>
      </p:sp>
      <p:sp>
        <p:nvSpPr>
          <p:cNvPr id="150" name="角丸四角形 149"/>
          <p:cNvSpPr/>
          <p:nvPr/>
        </p:nvSpPr>
        <p:spPr>
          <a:xfrm>
            <a:off x="1991544" y="2272336"/>
            <a:ext cx="1895575" cy="1283263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51" name="テキスト ボックス 150"/>
          <p:cNvSpPr txBox="1"/>
          <p:nvPr/>
        </p:nvSpPr>
        <p:spPr>
          <a:xfrm>
            <a:off x="1985699" y="2096973"/>
            <a:ext cx="156212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200" noProof="0" dirty="0" smtClean="0"/>
              <a:t>ID=0</a:t>
            </a:r>
            <a:r>
              <a:rPr kumimoji="1" lang="ja-JP" altLang="en-US" sz="1200" noProof="0" dirty="0" smtClean="0"/>
              <a:t>の</a:t>
            </a:r>
            <a:r>
              <a:rPr kumimoji="1" lang="en-US" altLang="ja-JP" sz="1200" noProof="0" dirty="0" smtClean="0"/>
              <a:t>“,”</a:t>
            </a:r>
            <a:r>
              <a:rPr kumimoji="1" lang="ja-JP" altLang="en-US" sz="1200" noProof="0" dirty="0" smtClean="0"/>
              <a:t>のベクトル値。</a:t>
            </a:r>
          </a:p>
        </p:txBody>
      </p:sp>
    </p:spTree>
    <p:extLst>
      <p:ext uri="{BB962C8B-B14F-4D97-AF65-F5344CB8AC3E}">
        <p14:creationId xmlns:p14="http://schemas.microsoft.com/office/powerpoint/2010/main" val="22880264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4" grpId="0" animBg="1"/>
      <p:bldP spid="138" grpId="0" animBg="1"/>
      <p:bldP spid="141" grpId="0" animBg="1"/>
      <p:bldP spid="142" grpId="0" animBg="1"/>
      <p:bldP spid="143" grpId="0" animBg="1"/>
      <p:bldP spid="5" grpId="0" animBg="1"/>
      <p:bldP spid="145" grpId="0" animBg="1"/>
      <p:bldP spid="146" grpId="0" animBg="1"/>
      <p:bldP spid="147" grpId="0" animBg="1"/>
      <p:bldP spid="148" grpId="0" animBg="1"/>
      <p:bldP spid="149" grpId="0" animBg="1"/>
      <p:bldP spid="150" grpId="0" animBg="1"/>
      <p:bldP spid="151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0" y="2271353"/>
            <a:ext cx="2268000" cy="1769715"/>
          </a:xfrm>
        </p:spPr>
        <p:txBody>
          <a:bodyPr/>
          <a:lstStyle/>
          <a:p>
            <a:r>
              <a:rPr lang="en-US" dirty="0" smtClean="0"/>
              <a:t>04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2639616" y="3137160"/>
            <a:ext cx="9144397" cy="677108"/>
          </a:xfrm>
        </p:spPr>
        <p:txBody>
          <a:bodyPr/>
          <a:lstStyle/>
          <a:p>
            <a:r>
              <a:rPr lang="ja-JP" altLang="en-US" dirty="0" smtClean="0"/>
              <a:t>実装、処理の結果</a:t>
            </a:r>
            <a:endParaRPr lang="en-US" altLang="ja-JP" dirty="0"/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12" y="320403"/>
            <a:ext cx="1600376" cy="2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123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実装、処理の</a:t>
            </a:r>
            <a:r>
              <a:rPr lang="ja-JP" altLang="en-US" dirty="0" smtClean="0"/>
              <a:t>結果</a:t>
            </a:r>
            <a:r>
              <a:rPr lang="en-US" altLang="ja-JP" dirty="0" smtClean="0"/>
              <a:t>(1)</a:t>
            </a:r>
            <a:endParaRPr lang="en-US" altLang="ja-JP" dirty="0"/>
          </a:p>
        </p:txBody>
      </p:sp>
      <p:pic>
        <p:nvPicPr>
          <p:cNvPr id="5" name="図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12" y="320403"/>
            <a:ext cx="1600376" cy="228625"/>
          </a:xfrm>
          <a:prstGeom prst="rect">
            <a:avLst/>
          </a:prstGeom>
        </p:spPr>
      </p:pic>
      <p:sp>
        <p:nvSpPr>
          <p:cNvPr id="7" name="テキスト プレースホルダー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テキスト プレースホルダー 2"/>
          <p:cNvSpPr>
            <a:spLocks noGrp="1"/>
          </p:cNvSpPr>
          <p:nvPr>
            <p:ph type="body" sz="quarter" idx="13"/>
          </p:nvPr>
        </p:nvSpPr>
        <p:spPr>
          <a:xfrm>
            <a:off x="399031" y="1052736"/>
            <a:ext cx="11376025" cy="4870220"/>
          </a:xfrm>
        </p:spPr>
        <p:txBody>
          <a:bodyPr/>
          <a:lstStyle/>
          <a:p>
            <a:pPr lvl="3"/>
            <a:r>
              <a:rPr lang="en-US" altLang="ja-JP" sz="1600" b="0" dirty="0" smtClean="0">
                <a:latin typeface="+mj-ea"/>
                <a:ea typeface="+mj-ea"/>
              </a:rPr>
              <a:t>1. </a:t>
            </a:r>
            <a:r>
              <a:rPr lang="ja-JP" altLang="en-US" sz="1600" b="0" dirty="0" smtClean="0">
                <a:latin typeface="+mj-ea"/>
                <a:ea typeface="+mj-ea"/>
              </a:rPr>
              <a:t>入力データの準備</a:t>
            </a:r>
            <a:endParaRPr lang="en-US" altLang="ja-JP" sz="1600" b="0" dirty="0" smtClean="0">
              <a:latin typeface="+mj-ea"/>
              <a:ea typeface="+mj-ea"/>
            </a:endParaRPr>
          </a:p>
          <a:p>
            <a:pPr lvl="3"/>
            <a:r>
              <a:rPr lang="ja-JP" altLang="en-US" sz="1600" b="0" dirty="0">
                <a:latin typeface="+mj-ea"/>
                <a:ea typeface="+mj-ea"/>
              </a:rPr>
              <a:t>　</a:t>
            </a:r>
            <a:r>
              <a:rPr lang="ja-JP" altLang="en-US" sz="1600" b="0" dirty="0" smtClean="0">
                <a:latin typeface="+mj-ea"/>
                <a:ea typeface="+mj-ea"/>
              </a:rPr>
              <a:t>今回は以下のテキストデータを使用した。</a:t>
            </a:r>
            <a:endParaRPr lang="en-US" altLang="ja-JP" sz="1600" b="0" dirty="0" smtClean="0">
              <a:latin typeface="+mj-ea"/>
              <a:ea typeface="+mj-ea"/>
            </a:endParaRPr>
          </a:p>
          <a:p>
            <a:pPr lvl="3"/>
            <a:r>
              <a:rPr lang="ja-JP" altLang="en-US" sz="1600" b="0" dirty="0" smtClean="0">
                <a:latin typeface="+mj-ea"/>
                <a:ea typeface="+mj-ea"/>
              </a:rPr>
              <a:t>　</a:t>
            </a:r>
            <a:r>
              <a:rPr lang="en-US" altLang="ja-JP" sz="1600" b="0" dirty="0" smtClean="0">
                <a:latin typeface="+mj-ea"/>
                <a:ea typeface="+mj-ea"/>
              </a:rPr>
              <a:t>“Alice's </a:t>
            </a:r>
            <a:r>
              <a:rPr lang="en-US" altLang="ja-JP" sz="1600" b="0" dirty="0">
                <a:latin typeface="+mj-ea"/>
                <a:ea typeface="+mj-ea"/>
              </a:rPr>
              <a:t>Adventures in </a:t>
            </a:r>
            <a:r>
              <a:rPr lang="en-US" altLang="ja-JP" sz="1600" b="0" dirty="0" smtClean="0">
                <a:latin typeface="+mj-ea"/>
                <a:ea typeface="+mj-ea"/>
              </a:rPr>
              <a:t>Wonderland” (</a:t>
            </a:r>
            <a:r>
              <a:rPr lang="en-US" altLang="ja-JP" sz="1600" b="0" dirty="0" smtClean="0">
                <a:latin typeface="+mj-ea"/>
                <a:ea typeface="+mj-ea"/>
                <a:hlinkClick r:id="rId4"/>
              </a:rPr>
              <a:t>http</a:t>
            </a:r>
            <a:r>
              <a:rPr lang="en-US" altLang="ja-JP" sz="1600" b="0" dirty="0">
                <a:latin typeface="+mj-ea"/>
                <a:ea typeface="+mj-ea"/>
                <a:hlinkClick r:id="rId4"/>
              </a:rPr>
              <a:t>://</a:t>
            </a:r>
            <a:r>
              <a:rPr lang="en-US" altLang="ja-JP" sz="1600" b="0" dirty="0" smtClean="0">
                <a:latin typeface="+mj-ea"/>
                <a:ea typeface="+mj-ea"/>
                <a:hlinkClick r:id="rId4"/>
              </a:rPr>
              <a:t>www.gutenberg.org/files/11/11-0.txt</a:t>
            </a:r>
            <a:r>
              <a:rPr lang="en-US" altLang="ja-JP" sz="1600" b="0" dirty="0" smtClean="0">
                <a:latin typeface="+mj-ea"/>
                <a:ea typeface="+mj-ea"/>
              </a:rPr>
              <a:t>)</a:t>
            </a:r>
          </a:p>
          <a:p>
            <a:pPr lvl="3"/>
            <a:r>
              <a:rPr lang="ja-JP" altLang="en-US" sz="1600" b="0" dirty="0">
                <a:latin typeface="+mj-ea"/>
                <a:ea typeface="+mj-ea"/>
              </a:rPr>
              <a:t>　</a:t>
            </a:r>
            <a:r>
              <a:rPr lang="en-US" altLang="ja-JP" sz="1600" b="0" dirty="0" smtClean="0">
                <a:latin typeface="+mj-ea"/>
                <a:ea typeface="+mj-ea"/>
              </a:rPr>
              <a:t>(</a:t>
            </a:r>
            <a:r>
              <a:rPr lang="ja-JP" altLang="en-US" sz="1600" b="0" dirty="0" smtClean="0">
                <a:latin typeface="+mj-ea"/>
                <a:ea typeface="+mj-ea"/>
              </a:rPr>
              <a:t>単語数 </a:t>
            </a:r>
            <a:r>
              <a:rPr lang="en-US" altLang="ja-JP" sz="1600" b="0" dirty="0" smtClean="0">
                <a:latin typeface="+mj-ea"/>
                <a:ea typeface="+mj-ea"/>
              </a:rPr>
              <a:t>= 38,972</a:t>
            </a:r>
            <a:r>
              <a:rPr lang="ja-JP" altLang="en-US" sz="1600" b="0" dirty="0" err="1" smtClean="0">
                <a:latin typeface="+mj-ea"/>
                <a:ea typeface="+mj-ea"/>
              </a:rPr>
              <a:t>、</a:t>
            </a:r>
            <a:r>
              <a:rPr lang="ja-JP" altLang="en-US" sz="1600" b="0" dirty="0" smtClean="0">
                <a:latin typeface="+mj-ea"/>
                <a:ea typeface="+mj-ea"/>
              </a:rPr>
              <a:t>単語の種類数 </a:t>
            </a:r>
            <a:r>
              <a:rPr lang="en-US" altLang="ja-JP" sz="1600" b="0" dirty="0" smtClean="0">
                <a:latin typeface="+mj-ea"/>
                <a:ea typeface="+mj-ea"/>
              </a:rPr>
              <a:t>= 3,110)</a:t>
            </a:r>
          </a:p>
          <a:p>
            <a:pPr lvl="3"/>
            <a:r>
              <a:rPr lang="en-US" altLang="ja-JP" sz="1600" b="0" dirty="0" smtClean="0">
                <a:latin typeface="+mj-ea"/>
                <a:ea typeface="+mj-ea"/>
              </a:rPr>
              <a:t>2. </a:t>
            </a:r>
            <a:r>
              <a:rPr lang="ja-JP" altLang="en-US" sz="1600" b="0" dirty="0" smtClean="0">
                <a:latin typeface="+mj-ea"/>
                <a:ea typeface="+mj-ea"/>
              </a:rPr>
              <a:t>単語</a:t>
            </a:r>
            <a:r>
              <a:rPr lang="ja-JP" altLang="en-US" sz="1600" b="0" dirty="0">
                <a:latin typeface="+mj-ea"/>
                <a:ea typeface="+mj-ea"/>
              </a:rPr>
              <a:t>ベクトル</a:t>
            </a:r>
            <a:r>
              <a:rPr lang="ja-JP" altLang="en-US" sz="1600" b="0" dirty="0" smtClean="0">
                <a:latin typeface="+mj-ea"/>
                <a:ea typeface="+mj-ea"/>
              </a:rPr>
              <a:t>の次元数を決める</a:t>
            </a:r>
            <a:endParaRPr lang="en-US" altLang="ja-JP" sz="1600" b="0" dirty="0" smtClean="0">
              <a:latin typeface="+mj-ea"/>
              <a:ea typeface="+mj-ea"/>
            </a:endParaRPr>
          </a:p>
          <a:p>
            <a:pPr lvl="3"/>
            <a:r>
              <a:rPr lang="ja-JP" altLang="en-US" sz="1600" b="0" dirty="0" smtClean="0">
                <a:latin typeface="+mj-ea"/>
                <a:ea typeface="+mj-ea"/>
              </a:rPr>
              <a:t>　本家</a:t>
            </a:r>
            <a:r>
              <a:rPr lang="en-US" altLang="ja-JP" sz="1600" b="0" dirty="0" smtClean="0">
                <a:latin typeface="+mj-ea"/>
                <a:ea typeface="+mj-ea"/>
              </a:rPr>
              <a:t>word2vec</a:t>
            </a:r>
            <a:r>
              <a:rPr lang="ja-JP" altLang="en-US" sz="1600" b="0" dirty="0" smtClean="0">
                <a:latin typeface="+mj-ea"/>
                <a:ea typeface="+mj-ea"/>
              </a:rPr>
              <a:t>は</a:t>
            </a:r>
            <a:r>
              <a:rPr lang="en-US" altLang="ja-JP" sz="1600" b="0" dirty="0" smtClean="0">
                <a:latin typeface="+mj-ea"/>
                <a:ea typeface="+mj-ea"/>
              </a:rPr>
              <a:t>200</a:t>
            </a:r>
            <a:r>
              <a:rPr lang="ja-JP" altLang="en-US" sz="1600" b="0" dirty="0" smtClean="0">
                <a:latin typeface="+mj-ea"/>
                <a:ea typeface="+mj-ea"/>
              </a:rPr>
              <a:t>次元とのことだが、今回は</a:t>
            </a:r>
            <a:r>
              <a:rPr lang="en-US" altLang="ja-JP" sz="1600" b="0" dirty="0" smtClean="0">
                <a:latin typeface="+mj-ea"/>
                <a:ea typeface="+mj-ea"/>
              </a:rPr>
              <a:t>20</a:t>
            </a:r>
            <a:r>
              <a:rPr lang="ja-JP" altLang="en-US" sz="1600" b="0" dirty="0" smtClean="0">
                <a:latin typeface="+mj-ea"/>
                <a:ea typeface="+mj-ea"/>
              </a:rPr>
              <a:t>次元としてみた。</a:t>
            </a:r>
            <a:endParaRPr lang="en-US" altLang="ja-JP" sz="1600" b="0" dirty="0" smtClean="0">
              <a:latin typeface="+mj-ea"/>
              <a:ea typeface="+mj-ea"/>
            </a:endParaRPr>
          </a:p>
          <a:p>
            <a:pPr lvl="3"/>
            <a:r>
              <a:rPr lang="en-US" altLang="ja-JP" sz="1600" b="0" dirty="0">
                <a:latin typeface="+mj-ea"/>
                <a:ea typeface="+mj-ea"/>
              </a:rPr>
              <a:t>3. “</a:t>
            </a:r>
            <a:r>
              <a:rPr lang="ja-JP" altLang="en-US" sz="1600" b="0" dirty="0">
                <a:latin typeface="+mj-ea"/>
                <a:ea typeface="+mj-ea"/>
              </a:rPr>
              <a:t>ウィンドウサイズ”を決める</a:t>
            </a:r>
          </a:p>
          <a:p>
            <a:pPr lvl="3"/>
            <a:r>
              <a:rPr lang="ja-JP" altLang="en-US" sz="1600" b="0" dirty="0">
                <a:latin typeface="+mj-ea"/>
                <a:ea typeface="+mj-ea"/>
              </a:rPr>
              <a:t>　本家の</a:t>
            </a:r>
            <a:r>
              <a:rPr lang="en-US" altLang="ja-JP" sz="1600" b="0" dirty="0">
                <a:latin typeface="+mj-ea"/>
                <a:ea typeface="+mj-ea"/>
              </a:rPr>
              <a:t>word2vec</a:t>
            </a:r>
            <a:r>
              <a:rPr lang="ja-JP" altLang="en-US" sz="1600" b="0" dirty="0">
                <a:latin typeface="+mj-ea"/>
                <a:ea typeface="+mj-ea"/>
              </a:rPr>
              <a:t>はデフォルトが</a:t>
            </a:r>
            <a:r>
              <a:rPr lang="en-US" altLang="ja-JP" sz="1600" b="0" dirty="0">
                <a:latin typeface="+mj-ea"/>
                <a:ea typeface="+mj-ea"/>
              </a:rPr>
              <a:t>5</a:t>
            </a:r>
            <a:r>
              <a:rPr lang="ja-JP" altLang="en-US" sz="1600" b="0" dirty="0" smtClean="0">
                <a:latin typeface="+mj-ea"/>
                <a:ea typeface="+mj-ea"/>
              </a:rPr>
              <a:t>とのだが、今回は実装を単純にするため、</a:t>
            </a:r>
            <a:r>
              <a:rPr lang="en-US" altLang="ja-JP" sz="1600" b="0" dirty="0" smtClean="0">
                <a:latin typeface="+mj-ea"/>
                <a:ea typeface="+mj-ea"/>
              </a:rPr>
              <a:t>1</a:t>
            </a:r>
            <a:r>
              <a:rPr lang="ja-JP" altLang="en-US" sz="1600" b="0" dirty="0" smtClean="0">
                <a:latin typeface="+mj-ea"/>
                <a:ea typeface="+mj-ea"/>
              </a:rPr>
              <a:t>とした。</a:t>
            </a:r>
            <a:endParaRPr lang="en-US" altLang="ja-JP" sz="1600" b="0" dirty="0" smtClean="0">
              <a:latin typeface="+mj-ea"/>
              <a:ea typeface="+mj-ea"/>
            </a:endParaRPr>
          </a:p>
          <a:p>
            <a:pPr lvl="3"/>
            <a:r>
              <a:rPr lang="en-US" altLang="ja-JP" sz="1600" b="0" dirty="0" smtClean="0">
                <a:latin typeface="+mj-ea"/>
                <a:ea typeface="+mj-ea"/>
              </a:rPr>
              <a:t>4. </a:t>
            </a:r>
            <a:r>
              <a:rPr lang="ja-JP" altLang="en-US" sz="1600" b="0" dirty="0" smtClean="0">
                <a:latin typeface="+mj-ea"/>
                <a:ea typeface="+mj-ea"/>
              </a:rPr>
              <a:t>学習データの作成</a:t>
            </a:r>
            <a:endParaRPr lang="en-US" altLang="ja-JP" sz="1600" b="0" dirty="0" smtClean="0">
              <a:latin typeface="+mj-ea"/>
              <a:ea typeface="+mj-ea"/>
            </a:endParaRPr>
          </a:p>
          <a:p>
            <a:pPr lvl="3"/>
            <a:r>
              <a:rPr lang="en-US" altLang="ja-JP" sz="1600" b="0" dirty="0" smtClean="0">
                <a:latin typeface="+mj-ea"/>
                <a:ea typeface="+mj-ea"/>
              </a:rPr>
              <a:t>5. </a:t>
            </a:r>
            <a:r>
              <a:rPr lang="ja-JP" altLang="en-US" sz="1600" b="0" dirty="0" smtClean="0">
                <a:latin typeface="+mj-ea"/>
                <a:ea typeface="+mj-ea"/>
              </a:rPr>
              <a:t>学習</a:t>
            </a:r>
            <a:endParaRPr lang="en-US" altLang="ja-JP" sz="1600" b="0" dirty="0" smtClean="0">
              <a:latin typeface="+mj-ea"/>
              <a:ea typeface="+mj-ea"/>
            </a:endParaRPr>
          </a:p>
          <a:p>
            <a:pPr lvl="3"/>
            <a:r>
              <a:rPr lang="en-US" altLang="ja-JP" sz="1600" b="0" dirty="0" smtClean="0">
                <a:latin typeface="+mj-ea"/>
                <a:ea typeface="+mj-ea"/>
              </a:rPr>
              <a:t>6. </a:t>
            </a:r>
            <a:r>
              <a:rPr lang="ja-JP" altLang="en-US" sz="1600" b="0" dirty="0" smtClean="0">
                <a:latin typeface="+mj-ea"/>
                <a:ea typeface="+mj-ea"/>
              </a:rPr>
              <a:t>学習済みネットワークから、単語ベクトルを取り出す</a:t>
            </a:r>
            <a:endParaRPr lang="en-US" altLang="ja-JP" sz="1600" b="0" dirty="0">
              <a:latin typeface="+mj-ea"/>
              <a:ea typeface="+mj-ea"/>
            </a:endParaRPr>
          </a:p>
          <a:p>
            <a:pPr lvl="3"/>
            <a:r>
              <a:rPr lang="ja-JP" altLang="en-US" sz="1600" b="0" dirty="0">
                <a:latin typeface="+mj-ea"/>
                <a:ea typeface="+mj-ea"/>
              </a:rPr>
              <a:t>　</a:t>
            </a:r>
            <a:r>
              <a:rPr lang="en-US" altLang="ja-JP" sz="1600" b="0" dirty="0" smtClean="0">
                <a:latin typeface="+mj-ea"/>
                <a:ea typeface="+mj-ea"/>
              </a:rPr>
              <a:t>4.</a:t>
            </a:r>
            <a:r>
              <a:rPr lang="ja-JP" altLang="en-US" sz="1600" b="0" dirty="0" smtClean="0">
                <a:latin typeface="+mj-ea"/>
                <a:ea typeface="+mj-ea"/>
              </a:rPr>
              <a:t>～</a:t>
            </a:r>
            <a:r>
              <a:rPr lang="en-US" altLang="ja-JP" sz="1600" b="0" dirty="0" smtClean="0">
                <a:latin typeface="+mj-ea"/>
                <a:ea typeface="+mj-ea"/>
              </a:rPr>
              <a:t>5.</a:t>
            </a:r>
            <a:r>
              <a:rPr lang="ja-JP" altLang="en-US" sz="1600" b="0" dirty="0" smtClean="0">
                <a:latin typeface="+mj-ea"/>
                <a:ea typeface="+mj-ea"/>
              </a:rPr>
              <a:t>については、</a:t>
            </a:r>
            <a:r>
              <a:rPr lang="en-US" altLang="ja-JP" sz="1600" b="0" dirty="0" err="1" smtClean="0">
                <a:latin typeface="+mj-ea"/>
                <a:ea typeface="+mj-ea"/>
              </a:rPr>
              <a:t>Kotlin</a:t>
            </a:r>
            <a:r>
              <a:rPr lang="ja-JP" altLang="en-US" sz="1600" b="0" dirty="0" smtClean="0">
                <a:latin typeface="+mj-ea"/>
                <a:ea typeface="+mj-ea"/>
              </a:rPr>
              <a:t>で実装を行い、処理を行った。</a:t>
            </a:r>
            <a:r>
              <a:rPr lang="en-US" altLang="ja-JP" sz="1600" b="0" dirty="0" smtClean="0">
                <a:latin typeface="+mj-ea"/>
                <a:ea typeface="+mj-ea"/>
              </a:rPr>
              <a:t>(</a:t>
            </a:r>
            <a:r>
              <a:rPr lang="ja-JP" altLang="en-US" sz="1600" b="0" dirty="0" smtClean="0">
                <a:latin typeface="+mj-ea"/>
                <a:ea typeface="+mj-ea"/>
              </a:rPr>
              <a:t>バッチサイズは</a:t>
            </a:r>
            <a:r>
              <a:rPr lang="en-US" altLang="ja-JP" sz="1600" b="0" dirty="0" smtClean="0">
                <a:latin typeface="+mj-ea"/>
                <a:ea typeface="+mj-ea"/>
              </a:rPr>
              <a:t>300</a:t>
            </a:r>
            <a:r>
              <a:rPr lang="ja-JP" altLang="en-US" sz="1600" b="0" dirty="0" err="1" smtClean="0">
                <a:latin typeface="+mj-ea"/>
                <a:ea typeface="+mj-ea"/>
              </a:rPr>
              <a:t>、</a:t>
            </a:r>
            <a:r>
              <a:rPr lang="ja-JP" altLang="en-US" sz="1600" b="0" dirty="0" smtClean="0">
                <a:latin typeface="+mj-ea"/>
                <a:ea typeface="+mj-ea"/>
              </a:rPr>
              <a:t>エポック数は</a:t>
            </a:r>
            <a:r>
              <a:rPr lang="en-US" altLang="ja-JP" sz="1600" b="0" dirty="0" smtClean="0">
                <a:latin typeface="+mj-ea"/>
                <a:ea typeface="+mj-ea"/>
              </a:rPr>
              <a:t>1000</a:t>
            </a:r>
            <a:r>
              <a:rPr lang="ja-JP" altLang="en-US" sz="1600" b="0" dirty="0" smtClean="0">
                <a:latin typeface="+mj-ea"/>
                <a:ea typeface="+mj-ea"/>
              </a:rPr>
              <a:t>とした。</a:t>
            </a:r>
            <a:r>
              <a:rPr lang="en-US" altLang="ja-JP" sz="1600" b="0" dirty="0" smtClean="0">
                <a:latin typeface="+mj-ea"/>
                <a:ea typeface="+mj-ea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204638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実装、処理の</a:t>
            </a:r>
            <a:r>
              <a:rPr lang="ja-JP" altLang="en-US" dirty="0" smtClean="0"/>
              <a:t>結果</a:t>
            </a:r>
            <a:r>
              <a:rPr lang="en-US" altLang="ja-JP" dirty="0" smtClean="0"/>
              <a:t>(2)</a:t>
            </a:r>
            <a:endParaRPr lang="en-US" altLang="ja-JP" dirty="0"/>
          </a:p>
        </p:txBody>
      </p:sp>
      <p:pic>
        <p:nvPicPr>
          <p:cNvPr id="5" name="図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12" y="320403"/>
            <a:ext cx="1600376" cy="228625"/>
          </a:xfrm>
          <a:prstGeom prst="rect">
            <a:avLst/>
          </a:prstGeom>
        </p:spPr>
      </p:pic>
      <p:sp>
        <p:nvSpPr>
          <p:cNvPr id="7" name="テキスト プレースホルダー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テキスト プレースホルダー 2"/>
          <p:cNvSpPr>
            <a:spLocks noGrp="1"/>
          </p:cNvSpPr>
          <p:nvPr>
            <p:ph type="body" sz="quarter" idx="13"/>
          </p:nvPr>
        </p:nvSpPr>
        <p:spPr>
          <a:xfrm>
            <a:off x="406400" y="1177200"/>
            <a:ext cx="11376025" cy="4870220"/>
          </a:xfrm>
        </p:spPr>
        <p:txBody>
          <a:bodyPr/>
          <a:lstStyle/>
          <a:p>
            <a:pPr lvl="3"/>
            <a:r>
              <a:rPr lang="ja-JP" altLang="en-US" sz="1600" b="0" dirty="0">
                <a:latin typeface="+mj-ea"/>
                <a:ea typeface="+mj-ea"/>
              </a:rPr>
              <a:t>以下</a:t>
            </a:r>
            <a:r>
              <a:rPr lang="ja-JP" altLang="en-US" sz="1600" b="0" dirty="0" smtClean="0">
                <a:latin typeface="+mj-ea"/>
                <a:ea typeface="+mj-ea"/>
              </a:rPr>
              <a:t>のような単語</a:t>
            </a:r>
            <a:r>
              <a:rPr lang="ja-JP" altLang="en-US" sz="1600" b="0" dirty="0">
                <a:latin typeface="+mj-ea"/>
                <a:ea typeface="+mj-ea"/>
              </a:rPr>
              <a:t>ベクトル</a:t>
            </a:r>
            <a:r>
              <a:rPr lang="ja-JP" altLang="en-US" sz="1600" b="0" dirty="0" smtClean="0">
                <a:latin typeface="+mj-ea"/>
                <a:ea typeface="+mj-ea"/>
              </a:rPr>
              <a:t>は得られたが、「</a:t>
            </a:r>
            <a:r>
              <a:rPr lang="en-US" altLang="ja-JP" sz="1600" b="0" dirty="0" smtClean="0">
                <a:latin typeface="+mj-ea"/>
                <a:ea typeface="+mj-ea"/>
              </a:rPr>
              <a:t>king – male + female </a:t>
            </a:r>
            <a:r>
              <a:rPr lang="ja-JP" altLang="en-US" sz="1600" b="0" dirty="0" smtClean="0">
                <a:latin typeface="+mj-ea"/>
                <a:ea typeface="+mj-ea"/>
              </a:rPr>
              <a:t>≒ </a:t>
            </a:r>
            <a:r>
              <a:rPr lang="en-US" altLang="ja-JP" sz="1600" b="0" dirty="0" smtClean="0">
                <a:latin typeface="+mj-ea"/>
                <a:ea typeface="+mj-ea"/>
              </a:rPr>
              <a:t>queen</a:t>
            </a:r>
            <a:r>
              <a:rPr lang="ja-JP" altLang="en-US" sz="1600" b="0" dirty="0" smtClean="0">
                <a:latin typeface="+mj-ea"/>
                <a:ea typeface="+mj-ea"/>
              </a:rPr>
              <a:t>」のようなものは見つけられなかった。</a:t>
            </a:r>
            <a:endParaRPr lang="en-US" altLang="ja-JP" sz="1600" b="0" dirty="0" smtClean="0">
              <a:latin typeface="+mj-ea"/>
              <a:ea typeface="+mj-ea"/>
            </a:endParaRPr>
          </a:p>
          <a:p>
            <a:pPr lvl="3"/>
            <a:endParaRPr lang="en-US" altLang="ja-JP" sz="1600" b="0" dirty="0" smtClean="0">
              <a:latin typeface="+mj-ea"/>
              <a:ea typeface="+mj-ea"/>
            </a:endParaRPr>
          </a:p>
          <a:p>
            <a:pPr lvl="3"/>
            <a:endParaRPr lang="en-US" altLang="ja-JP" sz="1600" b="0" dirty="0" smtClean="0">
              <a:latin typeface="+mj-ea"/>
              <a:ea typeface="+mj-ea"/>
            </a:endParaRPr>
          </a:p>
        </p:txBody>
      </p:sp>
      <p:pic>
        <p:nvPicPr>
          <p:cNvPr id="11" name="図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4813" y="1784838"/>
            <a:ext cx="11376644" cy="2167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</p:pic>
      <p:pic>
        <p:nvPicPr>
          <p:cNvPr id="12" name="図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4813" y="1514634"/>
            <a:ext cx="11376644" cy="2167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</p:pic>
      <p:pic>
        <p:nvPicPr>
          <p:cNvPr id="13" name="図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4813" y="2055042"/>
            <a:ext cx="11376644" cy="2167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947899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1728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/>
          <p:cNvSpPr>
            <a:spLocks noGrp="1"/>
          </p:cNvSpPr>
          <p:nvPr>
            <p:ph type="body" sz="quarter" idx="13"/>
          </p:nvPr>
        </p:nvSpPr>
        <p:spPr>
          <a:xfrm>
            <a:off x="1631504" y="1700808"/>
            <a:ext cx="9000000" cy="1846659"/>
          </a:xfrm>
        </p:spPr>
        <p:txBody>
          <a:bodyPr/>
          <a:lstStyle/>
          <a:p>
            <a:r>
              <a:rPr lang="en-US" altLang="ja-JP" sz="2400" dirty="0" err="1" smtClean="0"/>
              <a:t>DeepLearning</a:t>
            </a:r>
            <a:r>
              <a:rPr lang="ja-JP" altLang="en-US" sz="2400" dirty="0" smtClean="0"/>
              <a:t>による画像処理については、実務に耐えるものがいくつもあるようですが、自然言語処理は、まだ実務に耐えるものはないと思っています。</a:t>
            </a:r>
            <a:endParaRPr lang="en-US" altLang="ja-JP" sz="2400" dirty="0" smtClean="0"/>
          </a:p>
          <a:p>
            <a:endParaRPr lang="en-US" altLang="ja-JP" sz="2400" dirty="0"/>
          </a:p>
          <a:p>
            <a:r>
              <a:rPr lang="ja-JP" altLang="en-US" sz="2400" dirty="0" smtClean="0"/>
              <a:t>近い将来、実務に耐えるものが出てくるかもしれないので、その前に現状の技術の基礎を学んでおきたいと考えました。</a:t>
            </a:r>
            <a:endParaRPr lang="en-US" altLang="ja-JP" sz="2400" dirty="0" smtClean="0"/>
          </a:p>
        </p:txBody>
      </p:sp>
    </p:spTree>
    <p:extLst>
      <p:ext uri="{BB962C8B-B14F-4D97-AF65-F5344CB8AC3E}">
        <p14:creationId xmlns:p14="http://schemas.microsoft.com/office/powerpoint/2010/main" val="1447527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5640051"/>
              </p:ext>
            </p:extLst>
          </p:nvPr>
        </p:nvGraphicFramePr>
        <p:xfrm>
          <a:off x="191344" y="1625912"/>
          <a:ext cx="11774557" cy="385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9416">
                  <a:extLst>
                    <a:ext uri="{9D8B030D-6E8A-4147-A177-3AD203B41FA5}">
                      <a16:colId xmlns:a16="http://schemas.microsoft.com/office/drawing/2014/main" val="2238770775"/>
                    </a:ext>
                  </a:extLst>
                </a:gridCol>
                <a:gridCol w="10935141">
                  <a:extLst>
                    <a:ext uri="{9D8B030D-6E8A-4147-A177-3AD203B41FA5}">
                      <a16:colId xmlns:a16="http://schemas.microsoft.com/office/drawing/2014/main" val="3352972558"/>
                    </a:ext>
                  </a:extLst>
                </a:gridCol>
              </a:tblGrid>
              <a:tr h="684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3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8107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1</a:t>
                      </a:r>
                    </a:p>
                  </a:txBody>
                  <a:tcPr marL="0" marR="0" marT="0" marB="54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ja-JP" altLang="en-US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8107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参考書籍紹介</a:t>
                      </a:r>
                      <a:endParaRPr kumimoji="0" lang="en-US" altLang="ja-JP" sz="2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8107B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8000" marR="0" marT="0" marB="72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741276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8107B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kumimoji="0" lang="en-US" altLang="ja-JP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8282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800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6872757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3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8107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2</a:t>
                      </a:r>
                    </a:p>
                  </a:txBody>
                  <a:tcPr marL="0" marR="0" marT="0" marB="54000"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ja-JP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8107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ord2vec</a:t>
                      </a:r>
                      <a:r>
                        <a:rPr kumimoji="0" lang="ja-JP" altLang="en-US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8107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とは</a:t>
                      </a:r>
                      <a:endParaRPr kumimoji="0" lang="en-US" altLang="ja-JP" sz="2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8107B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8000" marB="72000"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857945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8107B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altLang="ja-JP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800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0823360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3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8107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3</a:t>
                      </a:r>
                    </a:p>
                  </a:txBody>
                  <a:tcPr marL="0" marR="0" marT="0" marB="54000"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ja-JP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8107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ord2vec</a:t>
                      </a:r>
                      <a:r>
                        <a:rPr kumimoji="0" lang="ja-JP" altLang="en-US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8107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の処理手順</a:t>
                      </a:r>
                    </a:p>
                  </a:txBody>
                  <a:tcPr marL="288000" marB="72000"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113183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8107B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kumimoji="0" lang="en-US" altLang="ja-JP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8282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800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9999145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3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8107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4</a:t>
                      </a:r>
                    </a:p>
                  </a:txBody>
                  <a:tcPr marL="0" marR="0" marT="0" marB="54000"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ja-JP" altLang="en-US" sz="2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8107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実装、処理の結果</a:t>
                      </a:r>
                    </a:p>
                  </a:txBody>
                  <a:tcPr marL="288000" marB="72000"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475714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8107B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8107B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800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927739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8107B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8107B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800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2850936"/>
                  </a:ext>
                </a:extLst>
              </a:tr>
            </a:tbl>
          </a:graphicData>
        </a:graphic>
      </p:graphicFrame>
      <p:pic>
        <p:nvPicPr>
          <p:cNvPr id="4" name="図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12" y="320403"/>
            <a:ext cx="1600376" cy="2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225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01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2639616" y="3137160"/>
            <a:ext cx="9144397" cy="677108"/>
          </a:xfrm>
        </p:spPr>
        <p:txBody>
          <a:bodyPr/>
          <a:lstStyle/>
          <a:p>
            <a:pPr lvl="0">
              <a:buClrTx/>
              <a:defRPr/>
            </a:pPr>
            <a:r>
              <a:rPr kumimoji="0" lang="ja-JP" altLang="en-US" b="0" dirty="0">
                <a:solidFill>
                  <a:srgbClr val="08107B"/>
                </a:solidFill>
              </a:rPr>
              <a:t>参考書籍紹介</a:t>
            </a:r>
            <a:endParaRPr kumimoji="0" lang="en-US" altLang="ja-JP" b="0" dirty="0">
              <a:solidFill>
                <a:srgbClr val="08107B"/>
              </a:solidFill>
            </a:endParaRPr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12" y="320403"/>
            <a:ext cx="1600376" cy="2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14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テキスト プレースホルダー 2"/>
          <p:cNvSpPr>
            <a:spLocks noGrp="1"/>
          </p:cNvSpPr>
          <p:nvPr>
            <p:ph type="body" sz="quarter" idx="13"/>
          </p:nvPr>
        </p:nvSpPr>
        <p:spPr>
          <a:xfrm>
            <a:off x="406400" y="1052736"/>
            <a:ext cx="11376025" cy="4588514"/>
          </a:xfrm>
        </p:spPr>
        <p:txBody>
          <a:bodyPr/>
          <a:lstStyle/>
          <a:p>
            <a:pPr lvl="3"/>
            <a:r>
              <a:rPr lang="ja-JP" altLang="en-US" b="0" dirty="0"/>
              <a:t>ゼロから作る</a:t>
            </a:r>
            <a:r>
              <a:rPr lang="en-US" altLang="ja-JP" b="0" dirty="0"/>
              <a:t>Deep Learning ❷――</a:t>
            </a:r>
            <a:r>
              <a:rPr lang="ja-JP" altLang="en-US" b="0" dirty="0"/>
              <a:t>自然言語</a:t>
            </a:r>
            <a:r>
              <a:rPr lang="ja-JP" altLang="en-US" b="0" dirty="0" smtClean="0"/>
              <a:t>処理編</a:t>
            </a:r>
            <a:endParaRPr lang="en-US" altLang="ja-JP" b="0" dirty="0" smtClean="0"/>
          </a:p>
          <a:p>
            <a:pPr lvl="3"/>
            <a:r>
              <a:rPr lang="en-US" altLang="ja-JP" b="0" dirty="0">
                <a:hlinkClick r:id="rId3"/>
              </a:rPr>
              <a:t>https://www.oreilly.co.jp/books/9784873118369</a:t>
            </a:r>
            <a:r>
              <a:rPr lang="en-US" altLang="ja-JP" b="0" dirty="0" smtClean="0">
                <a:hlinkClick r:id="rId3"/>
              </a:rPr>
              <a:t>/</a:t>
            </a:r>
            <a:endParaRPr lang="en-US" altLang="ja-JP" b="0" dirty="0" smtClean="0"/>
          </a:p>
          <a:p>
            <a:pPr lvl="3"/>
            <a:endParaRPr lang="en-US" altLang="ja-JP" b="0" dirty="0"/>
          </a:p>
          <a:p>
            <a:pPr lvl="3"/>
            <a:r>
              <a:rPr lang="ja-JP" altLang="en-US" b="0" dirty="0" smtClean="0"/>
              <a:t>大きく以下の二つに分かれています。</a:t>
            </a:r>
            <a:endParaRPr lang="en-US" altLang="ja-JP" b="0" dirty="0" smtClean="0"/>
          </a:p>
          <a:p>
            <a:pPr marL="342900" lvl="3" indent="-342900">
              <a:buAutoNum type="arabicParenBoth"/>
            </a:pPr>
            <a:r>
              <a:rPr lang="ja-JP" altLang="en-US" b="0" dirty="0" smtClean="0"/>
              <a:t>単語の処理</a:t>
            </a:r>
            <a:endParaRPr lang="en-US" altLang="ja-JP" b="0" dirty="0" smtClean="0"/>
          </a:p>
          <a:p>
            <a:pPr marL="342900" lvl="3" indent="-342900">
              <a:buAutoNum type="arabicParenBoth"/>
            </a:pPr>
            <a:r>
              <a:rPr lang="ja-JP" altLang="en-US" b="0" dirty="0"/>
              <a:t>文</a:t>
            </a:r>
            <a:r>
              <a:rPr lang="ja-JP" altLang="en-US" b="0" dirty="0" smtClean="0"/>
              <a:t>の処理</a:t>
            </a:r>
            <a:endParaRPr lang="en-US" altLang="ja-JP" b="0" dirty="0" smtClean="0"/>
          </a:p>
          <a:p>
            <a:pPr lvl="3"/>
            <a:endParaRPr lang="en-US" altLang="ja-JP" b="0" dirty="0"/>
          </a:p>
          <a:p>
            <a:pPr lvl="3"/>
            <a:r>
              <a:rPr lang="ja-JP" altLang="en-US" b="0" dirty="0" smtClean="0"/>
              <a:t>今回は前半の単語処理で紹介されている</a:t>
            </a:r>
            <a:r>
              <a:rPr lang="en-US" altLang="ja-JP" b="0" dirty="0" smtClean="0"/>
              <a:t>word2vec</a:t>
            </a:r>
            <a:r>
              <a:rPr lang="ja-JP" altLang="en-US" b="0" dirty="0" smtClean="0"/>
              <a:t>について発表します。</a:t>
            </a:r>
            <a:endParaRPr lang="en-US" altLang="ja-JP" b="0" dirty="0" smtClean="0"/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buClrTx/>
              <a:defRPr/>
            </a:pPr>
            <a:r>
              <a:rPr kumimoji="0" lang="ja-JP" altLang="en-US" b="0" dirty="0">
                <a:solidFill>
                  <a:srgbClr val="08107B"/>
                </a:solidFill>
              </a:rPr>
              <a:t>参考書籍紹介</a:t>
            </a:r>
            <a:endParaRPr kumimoji="0" lang="en-US" altLang="ja-JP" b="0" dirty="0">
              <a:solidFill>
                <a:srgbClr val="08107B"/>
              </a:solidFill>
            </a:endParaRPr>
          </a:p>
        </p:txBody>
      </p:sp>
      <p:pic>
        <p:nvPicPr>
          <p:cNvPr id="5" name="図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12" y="320403"/>
            <a:ext cx="1600376" cy="228625"/>
          </a:xfrm>
          <a:prstGeom prst="rect">
            <a:avLst/>
          </a:prstGeom>
        </p:spPr>
      </p:pic>
      <p:sp>
        <p:nvSpPr>
          <p:cNvPr id="7" name="テキスト プレースホルダー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pic>
        <p:nvPicPr>
          <p:cNvPr id="15" name="図 14" descr="https://www.oreilly.co.jp/books/images/picture_large978-4-87311-836-9.jpe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4454" y="813609"/>
            <a:ext cx="3547343" cy="5238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164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0" y="2271353"/>
            <a:ext cx="2268000" cy="1769715"/>
          </a:xfrm>
        </p:spPr>
        <p:txBody>
          <a:bodyPr/>
          <a:lstStyle/>
          <a:p>
            <a:r>
              <a:rPr lang="en-US" dirty="0" smtClean="0"/>
              <a:t>02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2639616" y="3137160"/>
            <a:ext cx="9144397" cy="677108"/>
          </a:xfrm>
        </p:spPr>
        <p:txBody>
          <a:bodyPr/>
          <a:lstStyle/>
          <a:p>
            <a:r>
              <a:rPr lang="en-US" altLang="ja-JP" dirty="0" smtClean="0"/>
              <a:t>word2vec</a:t>
            </a:r>
            <a:r>
              <a:rPr lang="ja-JP" altLang="en-US" dirty="0" smtClean="0"/>
              <a:t>とは</a:t>
            </a:r>
            <a:endParaRPr lang="en-US" altLang="ja-JP" dirty="0"/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12" y="320403"/>
            <a:ext cx="1600376" cy="2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542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テキスト プレースホルダー 2"/>
          <p:cNvSpPr>
            <a:spLocks noGrp="1"/>
          </p:cNvSpPr>
          <p:nvPr>
            <p:ph type="body" sz="quarter" idx="13"/>
          </p:nvPr>
        </p:nvSpPr>
        <p:spPr>
          <a:xfrm>
            <a:off x="406400" y="1177200"/>
            <a:ext cx="11376025" cy="1387704"/>
          </a:xfrm>
        </p:spPr>
        <p:txBody>
          <a:bodyPr/>
          <a:lstStyle/>
          <a:p>
            <a:pPr lvl="3"/>
            <a:r>
              <a:rPr lang="ja-JP" altLang="en-US" b="0" dirty="0" smtClean="0"/>
              <a:t>指定されたテキストデータに含まれる</a:t>
            </a:r>
            <a:r>
              <a:rPr lang="ja-JP" altLang="en-US" b="0" dirty="0"/>
              <a:t>各</a:t>
            </a:r>
            <a:r>
              <a:rPr lang="ja-JP" altLang="en-US" b="0" dirty="0" smtClean="0"/>
              <a:t>単語に対し、指定された次元数のベクトル値を設定するもの。</a:t>
            </a:r>
            <a:endParaRPr lang="en-US" altLang="ja-JP" b="0" dirty="0" smtClean="0"/>
          </a:p>
          <a:p>
            <a:pPr lvl="3"/>
            <a:r>
              <a:rPr lang="ja-JP" altLang="en-US" b="0" dirty="0" smtClean="0"/>
              <a:t>単語を入力すると、周辺の単語を出力するという</a:t>
            </a:r>
            <a:r>
              <a:rPr lang="en-US" altLang="ja-JP" b="0" dirty="0" smtClean="0"/>
              <a:t>NN</a:t>
            </a:r>
            <a:r>
              <a:rPr lang="ja-JP" altLang="en-US" b="0" dirty="0" smtClean="0"/>
              <a:t>を学習させると、</a:t>
            </a:r>
            <a:r>
              <a:rPr lang="en-US" altLang="ja-JP" b="0" dirty="0" smtClean="0"/>
              <a:t>NN</a:t>
            </a:r>
            <a:r>
              <a:rPr lang="ja-JP" altLang="en-US" b="0" dirty="0" smtClean="0"/>
              <a:t>内に単語ごとのベクトル値が出来上がるというもの。</a:t>
            </a:r>
            <a:endParaRPr lang="en-US" altLang="ja-JP" b="0" dirty="0" smtClean="0"/>
          </a:p>
          <a:p>
            <a:pPr lvl="3"/>
            <a:r>
              <a:rPr lang="ja-JP" altLang="en-US" b="0" dirty="0" smtClean="0"/>
              <a:t>テキストデータを、単語ベクトルのリストに変換することで、</a:t>
            </a:r>
            <a:r>
              <a:rPr lang="en-US" altLang="ja-JP" b="0" dirty="0" smtClean="0"/>
              <a:t>”</a:t>
            </a:r>
            <a:r>
              <a:rPr lang="ja-JP" altLang="en-US" b="0" dirty="0" smtClean="0"/>
              <a:t>文</a:t>
            </a:r>
            <a:r>
              <a:rPr lang="en-US" altLang="ja-JP" b="0" dirty="0" smtClean="0"/>
              <a:t>”</a:t>
            </a:r>
            <a:r>
              <a:rPr lang="ja-JP" altLang="en-US" b="0" dirty="0" smtClean="0"/>
              <a:t>を</a:t>
            </a:r>
            <a:r>
              <a:rPr lang="en-US" altLang="ja-JP" b="0" dirty="0" smtClean="0"/>
              <a:t>NN</a:t>
            </a:r>
            <a:r>
              <a:rPr lang="ja-JP" altLang="en-US" b="0" dirty="0" smtClean="0"/>
              <a:t>で処理できるようになる。</a:t>
            </a:r>
            <a:r>
              <a:rPr lang="en-US" altLang="ja-JP" b="0" dirty="0" smtClean="0"/>
              <a:t>(</a:t>
            </a:r>
            <a:r>
              <a:rPr lang="ja-JP" altLang="en-US" b="0" dirty="0" smtClean="0"/>
              <a:t>らしい</a:t>
            </a:r>
            <a:r>
              <a:rPr lang="en-US" altLang="ja-JP" b="0" dirty="0" smtClean="0"/>
              <a:t>)</a:t>
            </a:r>
            <a:endParaRPr lang="en-US" altLang="ja-JP" b="0" dirty="0"/>
          </a:p>
          <a:p>
            <a:pPr lvl="3"/>
            <a:endParaRPr lang="en-US" altLang="ja-JP" b="0" dirty="0" smtClean="0"/>
          </a:p>
          <a:p>
            <a:pPr lvl="3"/>
            <a:endParaRPr lang="en-US" altLang="ja-JP" b="0" dirty="0"/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word2vec</a:t>
            </a:r>
            <a:r>
              <a:rPr kumimoji="1" lang="ja-JP" altLang="en-US" dirty="0" smtClean="0"/>
              <a:t>とは</a:t>
            </a:r>
            <a:endParaRPr kumimoji="1" lang="ja-JP" altLang="en-US" dirty="0"/>
          </a:p>
        </p:txBody>
      </p:sp>
      <p:pic>
        <p:nvPicPr>
          <p:cNvPr id="5" name="図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12" y="320403"/>
            <a:ext cx="1600376" cy="228625"/>
          </a:xfrm>
          <a:prstGeom prst="rect">
            <a:avLst/>
          </a:prstGeom>
        </p:spPr>
      </p:pic>
      <p:sp>
        <p:nvSpPr>
          <p:cNvPr id="7" name="テキスト プレースホルダー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テキスト ボックス 5"/>
          <p:cNvSpPr txBox="1"/>
          <p:nvPr/>
        </p:nvSpPr>
        <p:spPr>
          <a:xfrm>
            <a:off x="406400" y="2492897"/>
            <a:ext cx="4176464" cy="10618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en-US" altLang="ja-JP" sz="1600" dirty="0" smtClean="0"/>
              <a:t>“Alice </a:t>
            </a:r>
            <a:r>
              <a:rPr lang="en-US" altLang="ja-JP" sz="1600" dirty="0"/>
              <a:t>was beginning to get very tired of sitting by her sister on the bank, and of having nothing to do</a:t>
            </a:r>
            <a:r>
              <a:rPr lang="en-US" altLang="ja-JP" sz="1600" dirty="0" smtClean="0"/>
              <a:t>:”…</a:t>
            </a:r>
            <a:endParaRPr kumimoji="1" lang="en-US" altLang="ja-JP" sz="1600" dirty="0"/>
          </a:p>
          <a:p>
            <a:pPr marL="180000" indent="-18000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noProof="0" dirty="0" err="1" smtClean="0"/>
          </a:p>
        </p:txBody>
      </p:sp>
      <p:sp>
        <p:nvSpPr>
          <p:cNvPr id="8" name="右矢印 7"/>
          <p:cNvSpPr/>
          <p:nvPr/>
        </p:nvSpPr>
        <p:spPr>
          <a:xfrm>
            <a:off x="4726928" y="2663771"/>
            <a:ext cx="1800200" cy="720080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kumimoji="1" lang="ja-JP" altLang="en-US" sz="1600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9" name="表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8971466"/>
              </p:ext>
            </p:extLst>
          </p:nvPr>
        </p:nvGraphicFramePr>
        <p:xfrm>
          <a:off x="6718420" y="2492897"/>
          <a:ext cx="5074446" cy="33430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3844">
                  <a:extLst>
                    <a:ext uri="{9D8B030D-6E8A-4147-A177-3AD203B41FA5}">
                      <a16:colId xmlns:a16="http://schemas.microsoft.com/office/drawing/2014/main" val="1313116525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731686701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66795005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410254258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1177426667"/>
                    </a:ext>
                  </a:extLst>
                </a:gridCol>
                <a:gridCol w="656306">
                  <a:extLst>
                    <a:ext uri="{9D8B030D-6E8A-4147-A177-3AD203B41FA5}">
                      <a16:colId xmlns:a16="http://schemas.microsoft.com/office/drawing/2014/main" val="1874990361"/>
                    </a:ext>
                  </a:extLst>
                </a:gridCol>
              </a:tblGrid>
              <a:tr h="352921">
                <a:tc>
                  <a:txBody>
                    <a:bodyPr/>
                    <a:lstStyle/>
                    <a:p>
                      <a:r>
                        <a:rPr kumimoji="1" lang="ja-JP" altLang="en-US" dirty="0" smtClean="0"/>
                        <a:t>単語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2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3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4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5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8003993"/>
                  </a:ext>
                </a:extLst>
              </a:tr>
              <a:tr h="352921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Alice”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-0.1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0.3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-0.2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0.4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2.1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0828569"/>
                  </a:ext>
                </a:extLst>
              </a:tr>
              <a:tr h="352921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and”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0.5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0.2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-1.2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-2.1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5.0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8984038"/>
                  </a:ext>
                </a:extLst>
              </a:tr>
              <a:tr h="352921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bank”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.2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3.5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-4.7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-0.1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-0.9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3980002"/>
                  </a:ext>
                </a:extLst>
              </a:tr>
              <a:tr h="352921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beginning”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-2.3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3.1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5.2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-0.7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-5.6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1701262"/>
                  </a:ext>
                </a:extLst>
              </a:tr>
              <a:tr h="352921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by”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-3.1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0.5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-5.1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-7.1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9.1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1872188"/>
                  </a:ext>
                </a:extLst>
              </a:tr>
              <a:tr h="352921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get”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-5.3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-4.1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-0.5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0.2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0.9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0861659"/>
                  </a:ext>
                </a:extLst>
              </a:tr>
              <a:tr h="352921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having”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-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0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-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0.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7824084"/>
                  </a:ext>
                </a:extLst>
              </a:tr>
              <a:tr h="416991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en-US" altLang="ja-JP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en-US" altLang="ja-JP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en-US" altLang="ja-JP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en-US" altLang="ja-JP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en-US" altLang="ja-JP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8161035"/>
                  </a:ext>
                </a:extLst>
              </a:tr>
            </a:tbl>
          </a:graphicData>
        </a:graphic>
      </p:graphicFrame>
      <p:graphicFrame>
        <p:nvGraphicFramePr>
          <p:cNvPr id="10" name="表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659701"/>
              </p:ext>
            </p:extLst>
          </p:nvPr>
        </p:nvGraphicFramePr>
        <p:xfrm>
          <a:off x="6718420" y="2492897"/>
          <a:ext cx="5074446" cy="3291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3844">
                  <a:extLst>
                    <a:ext uri="{9D8B030D-6E8A-4147-A177-3AD203B41FA5}">
                      <a16:colId xmlns:a16="http://schemas.microsoft.com/office/drawing/2014/main" val="1313116525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731686701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66795005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410254258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1177426667"/>
                    </a:ext>
                  </a:extLst>
                </a:gridCol>
                <a:gridCol w="656306">
                  <a:extLst>
                    <a:ext uri="{9D8B030D-6E8A-4147-A177-3AD203B41FA5}">
                      <a16:colId xmlns:a16="http://schemas.microsoft.com/office/drawing/2014/main" val="1874990361"/>
                    </a:ext>
                  </a:extLst>
                </a:gridCol>
              </a:tblGrid>
              <a:tr h="339756">
                <a:tc>
                  <a:txBody>
                    <a:bodyPr/>
                    <a:lstStyle/>
                    <a:p>
                      <a:r>
                        <a:rPr kumimoji="1" lang="ja-JP" altLang="en-US" dirty="0" smtClean="0"/>
                        <a:t>単語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2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3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4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5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8003993"/>
                  </a:ext>
                </a:extLst>
              </a:tr>
              <a:tr h="339756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female”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2.6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7.2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9.4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-5.1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3.7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0828569"/>
                  </a:ext>
                </a:extLst>
              </a:tr>
              <a:tr h="339756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: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4714258"/>
                  </a:ext>
                </a:extLst>
              </a:tr>
              <a:tr h="339756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king”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.2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5.5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.5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-8.2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.5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3980002"/>
                  </a:ext>
                </a:extLst>
              </a:tr>
              <a:tr h="339756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: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5521640"/>
                  </a:ext>
                </a:extLst>
              </a:tr>
              <a:tr h="339756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male”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.9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5.1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.0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-7.5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5.1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4541886"/>
                  </a:ext>
                </a:extLst>
              </a:tr>
              <a:tr h="339756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: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7337721"/>
                  </a:ext>
                </a:extLst>
              </a:tr>
              <a:tr h="339756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“queen”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.8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7.9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9.4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-6.2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-0.1</a:t>
                      </a:r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562618"/>
                  </a:ext>
                </a:extLst>
              </a:tr>
              <a:tr h="339756"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: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8504026"/>
                  </a:ext>
                </a:extLst>
              </a:tr>
            </a:tbl>
          </a:graphicData>
        </a:graphic>
      </p:graphicFrame>
      <p:sp>
        <p:nvSpPr>
          <p:cNvPr id="11" name="テキスト ボックス 10"/>
          <p:cNvSpPr txBox="1"/>
          <p:nvPr/>
        </p:nvSpPr>
        <p:spPr>
          <a:xfrm>
            <a:off x="406400" y="4469414"/>
            <a:ext cx="4783188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kumimoji="1" lang="en-US" altLang="ja-JP" sz="1600" noProof="0" dirty="0" smtClean="0"/>
              <a:t>“king” – “male” + “female” = (1.9, 7.6, 9.9 -5.8, 0.1)</a:t>
            </a:r>
            <a:endParaRPr kumimoji="1" lang="ja-JP" altLang="en-US" sz="1600" noProof="0" dirty="0" err="1" smtClean="0"/>
          </a:p>
        </p:txBody>
      </p:sp>
    </p:spTree>
    <p:extLst>
      <p:ext uri="{BB962C8B-B14F-4D97-AF65-F5344CB8AC3E}">
        <p14:creationId xmlns:p14="http://schemas.microsoft.com/office/powerpoint/2010/main" val="9571990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0" y="2271353"/>
            <a:ext cx="2268000" cy="1769715"/>
          </a:xfrm>
        </p:spPr>
        <p:txBody>
          <a:bodyPr/>
          <a:lstStyle/>
          <a:p>
            <a:r>
              <a:rPr lang="en-US" dirty="0" smtClean="0"/>
              <a:t>03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2639616" y="3137160"/>
            <a:ext cx="9144397" cy="677108"/>
          </a:xfrm>
        </p:spPr>
        <p:txBody>
          <a:bodyPr/>
          <a:lstStyle/>
          <a:p>
            <a:r>
              <a:rPr lang="en-US" altLang="ja-JP" dirty="0" smtClean="0"/>
              <a:t>word2vec</a:t>
            </a:r>
            <a:r>
              <a:rPr lang="ja-JP" altLang="en-US" dirty="0" smtClean="0"/>
              <a:t>の処理手順</a:t>
            </a:r>
            <a:endParaRPr lang="en-US" altLang="ja-JP" dirty="0"/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12" y="320403"/>
            <a:ext cx="1600376" cy="2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0050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テキスト プレースホルダー 2"/>
          <p:cNvSpPr>
            <a:spLocks noGrp="1"/>
          </p:cNvSpPr>
          <p:nvPr>
            <p:ph type="body" sz="quarter" idx="13"/>
          </p:nvPr>
        </p:nvSpPr>
        <p:spPr>
          <a:xfrm>
            <a:off x="406400" y="1177200"/>
            <a:ext cx="11376025" cy="4870220"/>
          </a:xfrm>
        </p:spPr>
        <p:txBody>
          <a:bodyPr/>
          <a:lstStyle/>
          <a:p>
            <a:pPr lvl="3"/>
            <a:r>
              <a:rPr lang="en-US" altLang="ja-JP" sz="1600" b="0" dirty="0" smtClean="0">
                <a:latin typeface="+mn-ea"/>
              </a:rPr>
              <a:t>1. </a:t>
            </a:r>
            <a:r>
              <a:rPr lang="ja-JP" altLang="en-US" sz="1600" b="0" dirty="0" smtClean="0">
                <a:latin typeface="+mn-ea"/>
              </a:rPr>
              <a:t>入力データの準備</a:t>
            </a:r>
            <a:endParaRPr lang="en-US" altLang="ja-JP" sz="1600" b="0" dirty="0" smtClean="0">
              <a:latin typeface="+mn-ea"/>
            </a:endParaRPr>
          </a:p>
          <a:p>
            <a:pPr lvl="3"/>
            <a:r>
              <a:rPr lang="ja-JP" altLang="en-US" sz="1600" b="0" dirty="0">
                <a:latin typeface="+mn-ea"/>
              </a:rPr>
              <a:t>　</a:t>
            </a:r>
            <a:r>
              <a:rPr lang="ja-JP" altLang="en-US" sz="1600" b="0" dirty="0" smtClean="0">
                <a:latin typeface="+mn-ea"/>
              </a:rPr>
              <a:t>巨大なテキストデータを用意する。</a:t>
            </a:r>
            <a:r>
              <a:rPr lang="en-US" altLang="ja-JP" sz="1600" b="0" dirty="0" err="1" smtClean="0">
                <a:latin typeface="+mn-ea"/>
              </a:rPr>
              <a:t>wikipedia</a:t>
            </a:r>
            <a:r>
              <a:rPr lang="ja-JP" altLang="en-US" sz="1600" b="0" dirty="0" smtClean="0">
                <a:latin typeface="+mn-ea"/>
              </a:rPr>
              <a:t>が使われたりしているらしい。</a:t>
            </a:r>
            <a:endParaRPr lang="en-US" altLang="ja-JP" sz="1600" b="0" dirty="0" smtClean="0">
              <a:latin typeface="+mn-ea"/>
            </a:endParaRPr>
          </a:p>
          <a:p>
            <a:pPr lvl="3"/>
            <a:r>
              <a:rPr lang="en-US" altLang="ja-JP" sz="1600" b="0" dirty="0" smtClean="0">
                <a:latin typeface="+mn-ea"/>
              </a:rPr>
              <a:t>2. </a:t>
            </a:r>
            <a:r>
              <a:rPr lang="ja-JP" altLang="en-US" sz="1600" b="0" dirty="0" smtClean="0">
                <a:latin typeface="+mn-ea"/>
              </a:rPr>
              <a:t>単語</a:t>
            </a:r>
            <a:r>
              <a:rPr lang="ja-JP" altLang="en-US" sz="1600" b="0" dirty="0">
                <a:latin typeface="+mn-ea"/>
              </a:rPr>
              <a:t>ベクトル</a:t>
            </a:r>
            <a:r>
              <a:rPr lang="ja-JP" altLang="en-US" sz="1600" b="0" dirty="0" smtClean="0">
                <a:latin typeface="+mn-ea"/>
              </a:rPr>
              <a:t>の次元数を決める</a:t>
            </a:r>
            <a:endParaRPr lang="en-US" altLang="ja-JP" sz="1600" b="0" dirty="0" smtClean="0">
              <a:latin typeface="+mn-ea"/>
            </a:endParaRPr>
          </a:p>
          <a:p>
            <a:pPr lvl="3"/>
            <a:r>
              <a:rPr lang="ja-JP" altLang="en-US" sz="1600" b="0" dirty="0" smtClean="0">
                <a:latin typeface="+mn-ea"/>
              </a:rPr>
              <a:t>　適当な次元数をどう決めればよいのかは不明。</a:t>
            </a:r>
            <a:endParaRPr lang="en-US" altLang="ja-JP" sz="1600" b="0" dirty="0" smtClean="0">
              <a:latin typeface="+mn-ea"/>
            </a:endParaRPr>
          </a:p>
          <a:p>
            <a:pPr lvl="3"/>
            <a:r>
              <a:rPr lang="ja-JP" altLang="en-US" sz="1600" b="0" dirty="0" smtClean="0">
                <a:latin typeface="+mn-ea"/>
              </a:rPr>
              <a:t>　本家の</a:t>
            </a:r>
            <a:r>
              <a:rPr lang="en-US" altLang="ja-JP" sz="1600" b="0" dirty="0" smtClean="0">
                <a:latin typeface="+mn-ea"/>
              </a:rPr>
              <a:t>word2vec</a:t>
            </a:r>
            <a:r>
              <a:rPr lang="ja-JP" altLang="en-US" sz="1600" b="0" dirty="0" smtClean="0">
                <a:latin typeface="+mn-ea"/>
              </a:rPr>
              <a:t>はデフォルトが</a:t>
            </a:r>
            <a:r>
              <a:rPr lang="en-US" altLang="ja-JP" sz="1600" b="0" dirty="0" smtClean="0">
                <a:latin typeface="+mn-ea"/>
              </a:rPr>
              <a:t>200</a:t>
            </a:r>
            <a:r>
              <a:rPr lang="ja-JP" altLang="en-US" sz="1600" b="0" dirty="0" smtClean="0">
                <a:latin typeface="+mn-ea"/>
              </a:rPr>
              <a:t>次元とのこと。</a:t>
            </a:r>
            <a:endParaRPr lang="en-US" altLang="ja-JP" sz="1600" b="0" dirty="0" smtClean="0">
              <a:latin typeface="+mn-ea"/>
            </a:endParaRPr>
          </a:p>
          <a:p>
            <a:pPr lvl="3"/>
            <a:r>
              <a:rPr lang="en-US" altLang="ja-JP" sz="1600" b="0" dirty="0" smtClean="0">
                <a:latin typeface="+mn-ea"/>
              </a:rPr>
              <a:t>3. “</a:t>
            </a:r>
            <a:r>
              <a:rPr lang="ja-JP" altLang="en-US" sz="1600" b="0" dirty="0" smtClean="0">
                <a:latin typeface="+mn-ea"/>
              </a:rPr>
              <a:t>ウィンドウサイズ</a:t>
            </a:r>
            <a:r>
              <a:rPr lang="en-US" altLang="ja-JP" sz="1600" b="0" dirty="0" smtClean="0">
                <a:latin typeface="+mn-ea"/>
              </a:rPr>
              <a:t>”</a:t>
            </a:r>
            <a:r>
              <a:rPr lang="ja-JP" altLang="en-US" sz="1600" b="0" dirty="0" smtClean="0">
                <a:latin typeface="+mn-ea"/>
              </a:rPr>
              <a:t>を決める</a:t>
            </a:r>
            <a:endParaRPr lang="en-US" altLang="ja-JP" sz="1600" b="0" dirty="0" smtClean="0">
              <a:latin typeface="+mn-ea"/>
            </a:endParaRPr>
          </a:p>
          <a:p>
            <a:pPr lvl="3"/>
            <a:r>
              <a:rPr lang="ja-JP" altLang="en-US" sz="1600" b="0" dirty="0">
                <a:latin typeface="+mn-ea"/>
              </a:rPr>
              <a:t>　</a:t>
            </a:r>
            <a:r>
              <a:rPr lang="en-US" altLang="ja-JP" sz="1600" b="0" dirty="0" smtClean="0">
                <a:latin typeface="+mn-ea"/>
              </a:rPr>
              <a:t>word2vec</a:t>
            </a:r>
            <a:r>
              <a:rPr lang="ja-JP" altLang="en-US" sz="1600" b="0" dirty="0" smtClean="0">
                <a:latin typeface="+mn-ea"/>
              </a:rPr>
              <a:t>では、単語とその前後の単語を使用して学習を行うが、前後の単語数をウィンドウサイズという。</a:t>
            </a:r>
            <a:endParaRPr lang="en-US" altLang="ja-JP" sz="1600" b="0" dirty="0" smtClean="0">
              <a:latin typeface="+mn-ea"/>
            </a:endParaRPr>
          </a:p>
          <a:p>
            <a:pPr lvl="3"/>
            <a:r>
              <a:rPr lang="ja-JP" altLang="en-US" sz="1600" b="0" dirty="0">
                <a:latin typeface="+mn-ea"/>
              </a:rPr>
              <a:t>　</a:t>
            </a:r>
            <a:r>
              <a:rPr lang="ja-JP" altLang="en-US" sz="1600" b="0" dirty="0" smtClean="0">
                <a:latin typeface="+mn-ea"/>
              </a:rPr>
              <a:t>本家の</a:t>
            </a:r>
            <a:r>
              <a:rPr lang="en-US" altLang="ja-JP" sz="1600" b="0" dirty="0" smtClean="0">
                <a:latin typeface="+mn-ea"/>
              </a:rPr>
              <a:t>word2vec</a:t>
            </a:r>
            <a:r>
              <a:rPr lang="ja-JP" altLang="en-US" sz="1600" b="0" dirty="0" smtClean="0">
                <a:latin typeface="+mn-ea"/>
              </a:rPr>
              <a:t>はデフォルトが</a:t>
            </a:r>
            <a:r>
              <a:rPr lang="en-US" altLang="ja-JP" sz="1600" b="0" dirty="0" smtClean="0">
                <a:latin typeface="+mn-ea"/>
              </a:rPr>
              <a:t>5</a:t>
            </a:r>
            <a:r>
              <a:rPr lang="ja-JP" altLang="en-US" sz="1600" b="0" dirty="0" smtClean="0">
                <a:latin typeface="+mn-ea"/>
              </a:rPr>
              <a:t>とのこと。</a:t>
            </a:r>
            <a:endParaRPr lang="en-US" altLang="ja-JP" sz="1600" b="0" dirty="0" smtClean="0">
              <a:latin typeface="+mn-ea"/>
            </a:endParaRPr>
          </a:p>
          <a:p>
            <a:pPr lvl="3"/>
            <a:r>
              <a:rPr lang="en-US" altLang="ja-JP" sz="1600" b="0" dirty="0" smtClean="0">
                <a:latin typeface="+mn-ea"/>
              </a:rPr>
              <a:t>4. </a:t>
            </a:r>
            <a:r>
              <a:rPr lang="ja-JP" altLang="en-US" sz="1600" b="0" dirty="0" smtClean="0">
                <a:latin typeface="+mn-ea"/>
              </a:rPr>
              <a:t>学習データの作成</a:t>
            </a:r>
            <a:endParaRPr lang="en-US" altLang="ja-JP" sz="1600" b="0" dirty="0" smtClean="0">
              <a:latin typeface="+mn-ea"/>
            </a:endParaRPr>
          </a:p>
          <a:p>
            <a:pPr lvl="3"/>
            <a:r>
              <a:rPr lang="en-US" altLang="ja-JP" sz="1600" b="0" dirty="0" smtClean="0">
                <a:latin typeface="+mn-ea"/>
              </a:rPr>
              <a:t>5. </a:t>
            </a:r>
            <a:r>
              <a:rPr lang="ja-JP" altLang="en-US" sz="1600" b="0" dirty="0" smtClean="0">
                <a:latin typeface="+mn-ea"/>
              </a:rPr>
              <a:t>学習</a:t>
            </a:r>
            <a:endParaRPr lang="en-US" altLang="ja-JP" sz="1600" b="0" dirty="0" smtClean="0">
              <a:latin typeface="+mn-ea"/>
            </a:endParaRPr>
          </a:p>
          <a:p>
            <a:pPr lvl="3"/>
            <a:r>
              <a:rPr lang="en-US" altLang="ja-JP" sz="1600" b="0" dirty="0" smtClean="0">
                <a:latin typeface="+mn-ea"/>
              </a:rPr>
              <a:t>6. </a:t>
            </a:r>
            <a:r>
              <a:rPr lang="ja-JP" altLang="en-US" sz="1600" b="0" dirty="0" smtClean="0">
                <a:latin typeface="+mn-ea"/>
              </a:rPr>
              <a:t>学習済みネットワークから、単語ベクトルを取り出す</a:t>
            </a:r>
            <a:endParaRPr lang="en-US" altLang="ja-JP" sz="1600" b="0" dirty="0">
              <a:latin typeface="+mn-ea"/>
            </a:endParaRPr>
          </a:p>
          <a:p>
            <a:pPr lvl="3"/>
            <a:endParaRPr lang="en-US" altLang="ja-JP" sz="1600" b="0" dirty="0" smtClean="0">
              <a:latin typeface="+mn-ea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07193" y="404664"/>
            <a:ext cx="11375825" cy="387798"/>
          </a:xfrm>
        </p:spPr>
        <p:txBody>
          <a:bodyPr/>
          <a:lstStyle/>
          <a:p>
            <a:r>
              <a:rPr lang="en-US" altLang="ja-JP" dirty="0"/>
              <a:t>w</a:t>
            </a:r>
            <a:r>
              <a:rPr kumimoji="1" lang="en-US" altLang="ja-JP" dirty="0" smtClean="0"/>
              <a:t>ord2vec</a:t>
            </a:r>
            <a:r>
              <a:rPr kumimoji="1" lang="ja-JP" altLang="en-US" dirty="0" smtClean="0"/>
              <a:t>の処理手順</a:t>
            </a:r>
            <a:endParaRPr kumimoji="1" lang="ja-JP" altLang="en-US" dirty="0"/>
          </a:p>
        </p:txBody>
      </p:sp>
      <p:pic>
        <p:nvPicPr>
          <p:cNvPr id="5" name="図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12" y="320403"/>
            <a:ext cx="1600376" cy="228625"/>
          </a:xfrm>
          <a:prstGeom prst="rect">
            <a:avLst/>
          </a:prstGeom>
        </p:spPr>
      </p:pic>
      <p:sp>
        <p:nvSpPr>
          <p:cNvPr id="7" name="テキスト プレースホルダー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84971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_zL6JVRvihjwzYuXuy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ef_77XQhWUuw78KbWi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jSp3_4QIeZkDPcrN8K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s8ixIpRxu6ZoWLB_mw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yb1kTZRdy7qQC.Hpz4hg"/>
</p:tagLst>
</file>

<file path=ppt/theme/theme1.xml><?xml version="1.0" encoding="utf-8"?>
<a:theme xmlns:a="http://schemas.openxmlformats.org/drawingml/2006/main" name="PPT_internaluse_Japan_20191015">
  <a:themeElements>
    <a:clrScheme name="Olympus 2019">
      <a:dk1>
        <a:srgbClr val="282828"/>
      </a:dk1>
      <a:lt1>
        <a:srgbClr val="FFFFFF"/>
      </a:lt1>
      <a:dk2>
        <a:srgbClr val="B4B7D7"/>
      </a:dk2>
      <a:lt2>
        <a:srgbClr val="436ED2"/>
      </a:lt2>
      <a:accent1>
        <a:srgbClr val="08107B"/>
      </a:accent1>
      <a:accent2>
        <a:srgbClr val="E9B226"/>
      </a:accent2>
      <a:accent3>
        <a:srgbClr val="777777"/>
      </a:accent3>
      <a:accent4>
        <a:srgbClr val="5257A2"/>
      </a:accent4>
      <a:accent5>
        <a:srgbClr val="D80F30"/>
      </a:accent5>
      <a:accent6>
        <a:srgbClr val="97C21E"/>
      </a:accent6>
      <a:hlink>
        <a:srgbClr val="777777"/>
      </a:hlink>
      <a:folHlink>
        <a:srgbClr val="5257A2"/>
      </a:folHlink>
    </a:clrScheme>
    <a:fontScheme name="Olympus">
      <a:majorFont>
        <a:latin typeface="Arial"/>
        <a:ea typeface="Yu Gothic UI"/>
        <a:cs typeface=""/>
      </a:majorFont>
      <a:minorFont>
        <a:latin typeface="Arial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4E4E4"/>
        </a:solidFill>
        <a:ln>
          <a:noFill/>
        </a:ln>
      </a:spPr>
      <a:bodyPr lIns="72000" tIns="72000" rIns="72000" bIns="72000" rtlCol="0" anchor="t" anchorCtr="0"/>
      <a:lstStyle>
        <a:defPPr marL="180000" indent="-180000" algn="l">
          <a:spcBef>
            <a:spcPts val="600"/>
          </a:spcBef>
          <a:buClr>
            <a:schemeClr val="accent1"/>
          </a:buClr>
          <a:buFont typeface="Wingdings" panose="05000000000000000000" pitchFamily="2" charset="2"/>
          <a:buChar char="§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>
          <a:spcBef>
            <a:spcPts val="600"/>
          </a:spcBef>
          <a:buClr>
            <a:schemeClr val="accent1"/>
          </a:buClr>
          <a:buFont typeface="Wingdings" panose="05000000000000000000" pitchFamily="2" charset="2"/>
          <a:buChar char="§"/>
          <a:defRPr sz="1600" noProof="0" dirty="0" err="1" smtClean="0"/>
        </a:defPPr>
      </a:lstStyle>
    </a:txDef>
  </a:objectDefaults>
  <a:extraClrSchemeLst/>
  <a:custClrLst>
    <a:custClr>
      <a:srgbClr val="8387BD"/>
    </a:custClr>
    <a:custClr>
      <a:srgbClr val="E4E4E4"/>
    </a:custClr>
  </a:custClrLst>
  <a:extLst>
    <a:ext uri="{05A4C25C-085E-4340-85A3-A5531E510DB2}">
      <thm15:themeFamily xmlns:thm15="http://schemas.microsoft.com/office/thememl/2012/main" name="プレゼンテーション4" id="{98DC94F6-21BA-4499-BB0A-6A546BE3A04A}" vid="{6DAFD1D1-51D9-4178-830E-0173B03EC733}"/>
    </a:ext>
  </a:extLst>
</a:theme>
</file>

<file path=ppt/theme/theme2.xml><?xml version="1.0" encoding="utf-8"?>
<a:theme xmlns:a="http://schemas.openxmlformats.org/drawingml/2006/main" name="Larissa">
  <a:themeElements>
    <a:clrScheme name="Olympus_2019">
      <a:dk1>
        <a:srgbClr val="282828"/>
      </a:dk1>
      <a:lt1>
        <a:srgbClr val="FFFFFF"/>
      </a:lt1>
      <a:dk2>
        <a:srgbClr val="DCDCF0"/>
      </a:dk2>
      <a:lt2>
        <a:srgbClr val="436ED2"/>
      </a:lt2>
      <a:accent1>
        <a:srgbClr val="08107B"/>
      </a:accent1>
      <a:accent2>
        <a:srgbClr val="E9B226"/>
      </a:accent2>
      <a:accent3>
        <a:srgbClr val="777777"/>
      </a:accent3>
      <a:accent4>
        <a:srgbClr val="069BE3"/>
      </a:accent4>
      <a:accent5>
        <a:srgbClr val="D80F30"/>
      </a:accent5>
      <a:accent6>
        <a:srgbClr val="97C21E"/>
      </a:accent6>
      <a:hlink>
        <a:srgbClr val="777777"/>
      </a:hlink>
      <a:folHlink>
        <a:srgbClr val="069BE3"/>
      </a:folHlink>
    </a:clrScheme>
    <a:fontScheme name="Benutzerdefiniert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Olympus_2019">
      <a:dk1>
        <a:srgbClr val="282828"/>
      </a:dk1>
      <a:lt1>
        <a:srgbClr val="FFFFFF"/>
      </a:lt1>
      <a:dk2>
        <a:srgbClr val="DCDCF0"/>
      </a:dk2>
      <a:lt2>
        <a:srgbClr val="436ED2"/>
      </a:lt2>
      <a:accent1>
        <a:srgbClr val="08107B"/>
      </a:accent1>
      <a:accent2>
        <a:srgbClr val="E9B226"/>
      </a:accent2>
      <a:accent3>
        <a:srgbClr val="777777"/>
      </a:accent3>
      <a:accent4>
        <a:srgbClr val="069BE3"/>
      </a:accent4>
      <a:accent5>
        <a:srgbClr val="D80F30"/>
      </a:accent5>
      <a:accent6>
        <a:srgbClr val="97C21E"/>
      </a:accent6>
      <a:hlink>
        <a:srgbClr val="777777"/>
      </a:hlink>
      <a:folHlink>
        <a:srgbClr val="069BE3"/>
      </a:folHlink>
    </a:clrScheme>
    <a:fontScheme name="RE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internaluse_Japan_20191015</Template>
  <TotalTime>828</TotalTime>
  <Words>1221</Words>
  <Application>Microsoft Office PowerPoint</Application>
  <PresentationFormat>ワイド画面</PresentationFormat>
  <Paragraphs>432</Paragraphs>
  <Slides>18</Slides>
  <Notes>16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3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8</vt:i4>
      </vt:variant>
    </vt:vector>
  </HeadingPairs>
  <TitlesOfParts>
    <vt:vector size="23" baseType="lpstr">
      <vt:lpstr>Yu Gothic UI</vt:lpstr>
      <vt:lpstr>Arial</vt:lpstr>
      <vt:lpstr>Wingdings</vt:lpstr>
      <vt:lpstr>PPT_internaluse_Japan_20191015</vt:lpstr>
      <vt:lpstr>think-cell Folie</vt:lpstr>
      <vt:lpstr>word2vecの紹介</vt:lpstr>
      <vt:lpstr>PowerPoint プレゼンテーション</vt:lpstr>
      <vt:lpstr>PowerPoint プレゼンテーション</vt:lpstr>
      <vt:lpstr>PowerPoint プレゼンテーション</vt:lpstr>
      <vt:lpstr>参考書籍紹介</vt:lpstr>
      <vt:lpstr>PowerPoint プレゼンテーション</vt:lpstr>
      <vt:lpstr>word2vecとは</vt:lpstr>
      <vt:lpstr>PowerPoint プレゼンテーション</vt:lpstr>
      <vt:lpstr>word2vecの処理手順</vt:lpstr>
      <vt:lpstr>学習データの作成 - (1)テキストデータを単語リストに変換</vt:lpstr>
      <vt:lpstr>学習データの作成 - (2)単語リストをVocabularyとCorpusに変換</vt:lpstr>
      <vt:lpstr>学習データの作成 - (3)Corpusを学習データに変換</vt:lpstr>
      <vt:lpstr>学習</vt:lpstr>
      <vt:lpstr>ネットワークから、単語ベクトルを取り出す</vt:lpstr>
      <vt:lpstr>PowerPoint プレゼンテーション</vt:lpstr>
      <vt:lpstr>実装、処理の結果(1)</vt:lpstr>
      <vt:lpstr>実装、処理の結果(2)</vt:lpstr>
      <vt:lpstr>PowerPoint プレゼンテーション</vt:lpstr>
    </vt:vector>
  </TitlesOfParts>
  <Manager>Name</Manager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プレゼンテーションのタイトルを入力</dc:title>
  <dc:subject>PowerPoint Template</dc:subject>
  <dc:creator>安西 泰久</dc:creator>
  <dc:description>Template is optimized for PPT 2010</dc:description>
  <cp:lastModifiedBy>秋山 光弘</cp:lastModifiedBy>
  <cp:revision>54</cp:revision>
  <dcterms:created xsi:type="dcterms:W3CDTF">2019-11-13T02:06:50Z</dcterms:created>
  <dcterms:modified xsi:type="dcterms:W3CDTF">2019-12-10T06:58:20Z</dcterms:modified>
</cp:coreProperties>
</file>